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1.xml" ContentType="application/vnd.openxmlformats-officedocument.drawingml.chartshape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2.xml" ContentType="application/vnd.openxmlformats-officedocument.drawingml.chartshapes+xml"/>
  <Override PartName="/ppt/notesSlides/notesSlide21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drawings/drawing3.xml" ContentType="application/vnd.openxmlformats-officedocument.drawingml.chartshape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24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notesSlides/notesSlide25.xml" ContentType="application/vnd.openxmlformats-officedocument.presentationml.notesSl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notesSlides/notesSlide26.xml" ContentType="application/vnd.openxmlformats-officedocument.presentationml.notesSl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notesSlides/notesSlide27.xml" ContentType="application/vnd.openxmlformats-officedocument.presentationml.notesSlid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notesSlides/notesSlide28.xml" ContentType="application/vnd.openxmlformats-officedocument.presentationml.notesSlid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29.xml" ContentType="application/vnd.openxmlformats-officedocument.presentationml.notesSl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notesSlides/notesSlide33.xml" ContentType="application/vnd.openxmlformats-officedocument.presentationml.notesSlid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notesSlides/notesSlide3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38.xml" ContentType="application/vnd.openxmlformats-officedocument.presentationml.notesSlid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notesSlides/notesSlide39.xml" ContentType="application/vnd.openxmlformats-officedocument.presentationml.notesSlid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</p:sldMasterIdLst>
  <p:notesMasterIdLst>
    <p:notesMasterId r:id="rId51"/>
  </p:notesMasterIdLst>
  <p:handoutMasterIdLst>
    <p:handoutMasterId r:id="rId52"/>
  </p:handoutMasterIdLst>
  <p:sldIdLst>
    <p:sldId id="315" r:id="rId3"/>
    <p:sldId id="260" r:id="rId4"/>
    <p:sldId id="321" r:id="rId5"/>
    <p:sldId id="322" r:id="rId6"/>
    <p:sldId id="323" r:id="rId7"/>
    <p:sldId id="261" r:id="rId8"/>
    <p:sldId id="313" r:id="rId9"/>
    <p:sldId id="309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99" r:id="rId18"/>
    <p:sldId id="316" r:id="rId19"/>
    <p:sldId id="273" r:id="rId20"/>
    <p:sldId id="274" r:id="rId21"/>
    <p:sldId id="275" r:id="rId22"/>
    <p:sldId id="276" r:id="rId23"/>
    <p:sldId id="298" r:id="rId24"/>
    <p:sldId id="278" r:id="rId25"/>
    <p:sldId id="279" r:id="rId26"/>
    <p:sldId id="280" r:id="rId27"/>
    <p:sldId id="292" r:id="rId28"/>
    <p:sldId id="318" r:id="rId29"/>
    <p:sldId id="320" r:id="rId30"/>
    <p:sldId id="281" r:id="rId31"/>
    <p:sldId id="293" r:id="rId32"/>
    <p:sldId id="294" r:id="rId33"/>
    <p:sldId id="303" r:id="rId34"/>
    <p:sldId id="282" r:id="rId35"/>
    <p:sldId id="283" r:id="rId36"/>
    <p:sldId id="312" r:id="rId37"/>
    <p:sldId id="285" r:id="rId38"/>
    <p:sldId id="286" r:id="rId39"/>
    <p:sldId id="287" r:id="rId40"/>
    <p:sldId id="289" r:id="rId41"/>
    <p:sldId id="290" r:id="rId42"/>
    <p:sldId id="324" r:id="rId43"/>
    <p:sldId id="295" r:id="rId44"/>
    <p:sldId id="296" r:id="rId45"/>
    <p:sldId id="310" r:id="rId46"/>
    <p:sldId id="311" r:id="rId47"/>
    <p:sldId id="317" r:id="rId48"/>
    <p:sldId id="297" r:id="rId49"/>
    <p:sldId id="300" r:id="rId50"/>
  </p:sldIdLst>
  <p:sldSz cx="12192000" cy="6858000"/>
  <p:notesSz cx="6797675" cy="9926638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35EA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35" autoAdjust="0"/>
    <p:restoredTop sz="94660" autoAdjust="0"/>
  </p:normalViewPr>
  <p:slideViewPr>
    <p:cSldViewPr snapToGrid="0">
      <p:cViewPr varScale="1">
        <p:scale>
          <a:sx n="113" d="100"/>
          <a:sy n="113" d="100"/>
        </p:scale>
        <p:origin x="522" y="-94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://eiendomnorge.no/wp-content/uploads/2019/10/eiendomnorge.no-september-2019-prisindeks-sep-2019-2019-10-02_11-29-37_00626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chartUserShapes" Target="../drawings/drawing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489126\Desktop\Kopi%20av%202018_HL090_Helt_ledige._Fylke._Tidsserie_aa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489126\Downloads\Netto%20(1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dirty="0" smtClean="0"/>
              <a:t>Utvikling Prisindeks</a:t>
            </a:r>
            <a:endParaRPr lang="nb-NO" dirty="0"/>
          </a:p>
        </c:rich>
      </c:tx>
      <c:layout>
        <c:manualLayout>
          <c:xMode val="edge"/>
          <c:yMode val="edge"/>
          <c:x val="0.46384998918145987"/>
          <c:y val="2.04678350792101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4.9124544915756498E-2"/>
          <c:y val="8.9860041104892402E-2"/>
          <c:w val="0.94763666638444388"/>
          <c:h val="0.70498315231252295"/>
        </c:manualLayout>
      </c:layou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Drammen m/omegn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202</c:f>
              <c:numCache>
                <c:formatCode>mmm\-yy</c:formatCode>
                <c:ptCount val="201"/>
                <c:pt idx="0">
                  <c:v>37622</c:v>
                </c:pt>
                <c:pt idx="1">
                  <c:v>37653</c:v>
                </c:pt>
                <c:pt idx="2">
                  <c:v>37681</c:v>
                </c:pt>
                <c:pt idx="3">
                  <c:v>37712</c:v>
                </c:pt>
                <c:pt idx="4">
                  <c:v>37742</c:v>
                </c:pt>
                <c:pt idx="5">
                  <c:v>37773</c:v>
                </c:pt>
                <c:pt idx="6">
                  <c:v>37803</c:v>
                </c:pt>
                <c:pt idx="7">
                  <c:v>37834</c:v>
                </c:pt>
                <c:pt idx="8">
                  <c:v>37865</c:v>
                </c:pt>
                <c:pt idx="9">
                  <c:v>37895</c:v>
                </c:pt>
                <c:pt idx="10">
                  <c:v>37926</c:v>
                </c:pt>
                <c:pt idx="11">
                  <c:v>37956</c:v>
                </c:pt>
                <c:pt idx="12">
                  <c:v>37987</c:v>
                </c:pt>
                <c:pt idx="13">
                  <c:v>38018</c:v>
                </c:pt>
                <c:pt idx="14">
                  <c:v>38047</c:v>
                </c:pt>
                <c:pt idx="15">
                  <c:v>38078</c:v>
                </c:pt>
                <c:pt idx="16">
                  <c:v>38108</c:v>
                </c:pt>
                <c:pt idx="17">
                  <c:v>38139</c:v>
                </c:pt>
                <c:pt idx="18">
                  <c:v>38169</c:v>
                </c:pt>
                <c:pt idx="19">
                  <c:v>38200</c:v>
                </c:pt>
                <c:pt idx="20">
                  <c:v>38231</c:v>
                </c:pt>
                <c:pt idx="21">
                  <c:v>38261</c:v>
                </c:pt>
                <c:pt idx="22">
                  <c:v>38292</c:v>
                </c:pt>
                <c:pt idx="23">
                  <c:v>38322</c:v>
                </c:pt>
                <c:pt idx="24">
                  <c:v>38353</c:v>
                </c:pt>
                <c:pt idx="25">
                  <c:v>38384</c:v>
                </c:pt>
                <c:pt idx="26">
                  <c:v>38412</c:v>
                </c:pt>
                <c:pt idx="27">
                  <c:v>38443</c:v>
                </c:pt>
                <c:pt idx="28">
                  <c:v>38473</c:v>
                </c:pt>
                <c:pt idx="29">
                  <c:v>38504</c:v>
                </c:pt>
                <c:pt idx="30">
                  <c:v>38534</c:v>
                </c:pt>
                <c:pt idx="31">
                  <c:v>38565</c:v>
                </c:pt>
                <c:pt idx="32">
                  <c:v>38596</c:v>
                </c:pt>
                <c:pt idx="33">
                  <c:v>38626</c:v>
                </c:pt>
                <c:pt idx="34">
                  <c:v>38657</c:v>
                </c:pt>
                <c:pt idx="35">
                  <c:v>38687</c:v>
                </c:pt>
                <c:pt idx="36">
                  <c:v>38718</c:v>
                </c:pt>
                <c:pt idx="37">
                  <c:v>38749</c:v>
                </c:pt>
                <c:pt idx="38">
                  <c:v>38777</c:v>
                </c:pt>
                <c:pt idx="39">
                  <c:v>38808</c:v>
                </c:pt>
                <c:pt idx="40">
                  <c:v>38838</c:v>
                </c:pt>
                <c:pt idx="41">
                  <c:v>38869</c:v>
                </c:pt>
                <c:pt idx="42">
                  <c:v>38899</c:v>
                </c:pt>
                <c:pt idx="43">
                  <c:v>38930</c:v>
                </c:pt>
                <c:pt idx="44">
                  <c:v>38961</c:v>
                </c:pt>
                <c:pt idx="45">
                  <c:v>38991</c:v>
                </c:pt>
                <c:pt idx="46">
                  <c:v>39022</c:v>
                </c:pt>
                <c:pt idx="47">
                  <c:v>39052</c:v>
                </c:pt>
                <c:pt idx="48">
                  <c:v>39083</c:v>
                </c:pt>
                <c:pt idx="49">
                  <c:v>39114</c:v>
                </c:pt>
                <c:pt idx="50">
                  <c:v>39142</c:v>
                </c:pt>
                <c:pt idx="51">
                  <c:v>39173</c:v>
                </c:pt>
                <c:pt idx="52">
                  <c:v>39203</c:v>
                </c:pt>
                <c:pt idx="53">
                  <c:v>39234</c:v>
                </c:pt>
                <c:pt idx="54">
                  <c:v>39264</c:v>
                </c:pt>
                <c:pt idx="55">
                  <c:v>39295</c:v>
                </c:pt>
                <c:pt idx="56">
                  <c:v>39326</c:v>
                </c:pt>
                <c:pt idx="57">
                  <c:v>39356</c:v>
                </c:pt>
                <c:pt idx="58">
                  <c:v>39387</c:v>
                </c:pt>
                <c:pt idx="59">
                  <c:v>39417</c:v>
                </c:pt>
                <c:pt idx="60">
                  <c:v>39448</c:v>
                </c:pt>
                <c:pt idx="61">
                  <c:v>39479</c:v>
                </c:pt>
                <c:pt idx="62">
                  <c:v>39508</c:v>
                </c:pt>
                <c:pt idx="63">
                  <c:v>39539</c:v>
                </c:pt>
                <c:pt idx="64">
                  <c:v>39569</c:v>
                </c:pt>
                <c:pt idx="65">
                  <c:v>39600</c:v>
                </c:pt>
                <c:pt idx="66">
                  <c:v>39630</c:v>
                </c:pt>
                <c:pt idx="67">
                  <c:v>39661</c:v>
                </c:pt>
                <c:pt idx="68">
                  <c:v>39692</c:v>
                </c:pt>
                <c:pt idx="69">
                  <c:v>39722</c:v>
                </c:pt>
                <c:pt idx="70">
                  <c:v>39753</c:v>
                </c:pt>
                <c:pt idx="71">
                  <c:v>39783</c:v>
                </c:pt>
                <c:pt idx="72">
                  <c:v>39814</c:v>
                </c:pt>
                <c:pt idx="73">
                  <c:v>39845</c:v>
                </c:pt>
                <c:pt idx="74">
                  <c:v>39873</c:v>
                </c:pt>
                <c:pt idx="75">
                  <c:v>39904</c:v>
                </c:pt>
                <c:pt idx="76">
                  <c:v>39934</c:v>
                </c:pt>
                <c:pt idx="77">
                  <c:v>39965</c:v>
                </c:pt>
                <c:pt idx="78">
                  <c:v>39995</c:v>
                </c:pt>
                <c:pt idx="79">
                  <c:v>40026</c:v>
                </c:pt>
                <c:pt idx="80">
                  <c:v>40057</c:v>
                </c:pt>
                <c:pt idx="81">
                  <c:v>40087</c:v>
                </c:pt>
                <c:pt idx="82">
                  <c:v>40118</c:v>
                </c:pt>
                <c:pt idx="83">
                  <c:v>40148</c:v>
                </c:pt>
                <c:pt idx="84">
                  <c:v>40179</c:v>
                </c:pt>
                <c:pt idx="85">
                  <c:v>40210</c:v>
                </c:pt>
                <c:pt idx="86">
                  <c:v>40238</c:v>
                </c:pt>
                <c:pt idx="87">
                  <c:v>40269</c:v>
                </c:pt>
                <c:pt idx="88">
                  <c:v>40299</c:v>
                </c:pt>
                <c:pt idx="89">
                  <c:v>40330</c:v>
                </c:pt>
                <c:pt idx="90">
                  <c:v>40360</c:v>
                </c:pt>
                <c:pt idx="91">
                  <c:v>40391</c:v>
                </c:pt>
                <c:pt idx="92">
                  <c:v>40422</c:v>
                </c:pt>
                <c:pt idx="93">
                  <c:v>40452</c:v>
                </c:pt>
                <c:pt idx="94">
                  <c:v>40483</c:v>
                </c:pt>
                <c:pt idx="95">
                  <c:v>40513</c:v>
                </c:pt>
                <c:pt idx="96">
                  <c:v>40544</c:v>
                </c:pt>
                <c:pt idx="97">
                  <c:v>40575</c:v>
                </c:pt>
                <c:pt idx="98">
                  <c:v>40603</c:v>
                </c:pt>
                <c:pt idx="99">
                  <c:v>40634</c:v>
                </c:pt>
                <c:pt idx="100">
                  <c:v>40664</c:v>
                </c:pt>
                <c:pt idx="101">
                  <c:v>40695</c:v>
                </c:pt>
                <c:pt idx="102">
                  <c:v>40725</c:v>
                </c:pt>
                <c:pt idx="103">
                  <c:v>40756</c:v>
                </c:pt>
                <c:pt idx="104">
                  <c:v>40787</c:v>
                </c:pt>
                <c:pt idx="105">
                  <c:v>40817</c:v>
                </c:pt>
                <c:pt idx="106">
                  <c:v>40848</c:v>
                </c:pt>
                <c:pt idx="107">
                  <c:v>40878</c:v>
                </c:pt>
                <c:pt idx="108">
                  <c:v>40909</c:v>
                </c:pt>
                <c:pt idx="109">
                  <c:v>40940</c:v>
                </c:pt>
                <c:pt idx="110">
                  <c:v>40969</c:v>
                </c:pt>
                <c:pt idx="111">
                  <c:v>41000</c:v>
                </c:pt>
                <c:pt idx="112">
                  <c:v>41030</c:v>
                </c:pt>
                <c:pt idx="113">
                  <c:v>41061</c:v>
                </c:pt>
                <c:pt idx="114">
                  <c:v>41091</c:v>
                </c:pt>
                <c:pt idx="115">
                  <c:v>41122</c:v>
                </c:pt>
                <c:pt idx="116">
                  <c:v>41153</c:v>
                </c:pt>
                <c:pt idx="117">
                  <c:v>41183</c:v>
                </c:pt>
                <c:pt idx="118">
                  <c:v>41214</c:v>
                </c:pt>
                <c:pt idx="119">
                  <c:v>41244</c:v>
                </c:pt>
                <c:pt idx="120">
                  <c:v>41275</c:v>
                </c:pt>
                <c:pt idx="121">
                  <c:v>41306</c:v>
                </c:pt>
                <c:pt idx="122">
                  <c:v>41334</c:v>
                </c:pt>
                <c:pt idx="123">
                  <c:v>41365</c:v>
                </c:pt>
                <c:pt idx="124">
                  <c:v>41395</c:v>
                </c:pt>
                <c:pt idx="125">
                  <c:v>41426</c:v>
                </c:pt>
                <c:pt idx="126">
                  <c:v>41456</c:v>
                </c:pt>
                <c:pt idx="127">
                  <c:v>41487</c:v>
                </c:pt>
                <c:pt idx="128">
                  <c:v>41518</c:v>
                </c:pt>
                <c:pt idx="129">
                  <c:v>41548</c:v>
                </c:pt>
                <c:pt idx="130">
                  <c:v>41579</c:v>
                </c:pt>
                <c:pt idx="131">
                  <c:v>41609</c:v>
                </c:pt>
                <c:pt idx="132">
                  <c:v>41640</c:v>
                </c:pt>
                <c:pt idx="133">
                  <c:v>41671</c:v>
                </c:pt>
                <c:pt idx="134">
                  <c:v>41699</c:v>
                </c:pt>
                <c:pt idx="135">
                  <c:v>41730</c:v>
                </c:pt>
                <c:pt idx="136">
                  <c:v>41760</c:v>
                </c:pt>
                <c:pt idx="137">
                  <c:v>41791</c:v>
                </c:pt>
                <c:pt idx="138">
                  <c:v>41821</c:v>
                </c:pt>
                <c:pt idx="139">
                  <c:v>41852</c:v>
                </c:pt>
                <c:pt idx="140">
                  <c:v>41883</c:v>
                </c:pt>
                <c:pt idx="141">
                  <c:v>41913</c:v>
                </c:pt>
                <c:pt idx="142">
                  <c:v>41944</c:v>
                </c:pt>
                <c:pt idx="143">
                  <c:v>41974</c:v>
                </c:pt>
                <c:pt idx="144">
                  <c:v>42005</c:v>
                </c:pt>
                <c:pt idx="145">
                  <c:v>42036</c:v>
                </c:pt>
                <c:pt idx="146">
                  <c:v>42064</c:v>
                </c:pt>
                <c:pt idx="147">
                  <c:v>42095</c:v>
                </c:pt>
                <c:pt idx="148">
                  <c:v>42125</c:v>
                </c:pt>
                <c:pt idx="149">
                  <c:v>42156</c:v>
                </c:pt>
                <c:pt idx="150">
                  <c:v>42186</c:v>
                </c:pt>
                <c:pt idx="151">
                  <c:v>42217</c:v>
                </c:pt>
                <c:pt idx="152">
                  <c:v>42248</c:v>
                </c:pt>
                <c:pt idx="153">
                  <c:v>42278</c:v>
                </c:pt>
                <c:pt idx="154">
                  <c:v>42309</c:v>
                </c:pt>
                <c:pt idx="155">
                  <c:v>42339</c:v>
                </c:pt>
                <c:pt idx="156">
                  <c:v>42370</c:v>
                </c:pt>
                <c:pt idx="157">
                  <c:v>42401</c:v>
                </c:pt>
                <c:pt idx="158">
                  <c:v>42430</c:v>
                </c:pt>
                <c:pt idx="159">
                  <c:v>42461</c:v>
                </c:pt>
                <c:pt idx="160">
                  <c:v>42491</c:v>
                </c:pt>
                <c:pt idx="161">
                  <c:v>42522</c:v>
                </c:pt>
                <c:pt idx="162">
                  <c:v>42552</c:v>
                </c:pt>
                <c:pt idx="163">
                  <c:v>42583</c:v>
                </c:pt>
                <c:pt idx="164">
                  <c:v>42614</c:v>
                </c:pt>
                <c:pt idx="165">
                  <c:v>42644</c:v>
                </c:pt>
                <c:pt idx="166">
                  <c:v>42675</c:v>
                </c:pt>
                <c:pt idx="167">
                  <c:v>42705</c:v>
                </c:pt>
                <c:pt idx="168">
                  <c:v>42736</c:v>
                </c:pt>
                <c:pt idx="169">
                  <c:v>42767</c:v>
                </c:pt>
                <c:pt idx="170">
                  <c:v>42795</c:v>
                </c:pt>
                <c:pt idx="171">
                  <c:v>42826</c:v>
                </c:pt>
                <c:pt idx="172">
                  <c:v>42856</c:v>
                </c:pt>
                <c:pt idx="173">
                  <c:v>42887</c:v>
                </c:pt>
                <c:pt idx="174">
                  <c:v>42917</c:v>
                </c:pt>
                <c:pt idx="175">
                  <c:v>42948</c:v>
                </c:pt>
                <c:pt idx="176">
                  <c:v>42979</c:v>
                </c:pt>
                <c:pt idx="177">
                  <c:v>43009</c:v>
                </c:pt>
                <c:pt idx="178">
                  <c:v>43040</c:v>
                </c:pt>
                <c:pt idx="179">
                  <c:v>43070</c:v>
                </c:pt>
                <c:pt idx="180">
                  <c:v>43101</c:v>
                </c:pt>
                <c:pt idx="181">
                  <c:v>43132</c:v>
                </c:pt>
                <c:pt idx="182">
                  <c:v>43160</c:v>
                </c:pt>
                <c:pt idx="183">
                  <c:v>43191</c:v>
                </c:pt>
                <c:pt idx="184">
                  <c:v>43221</c:v>
                </c:pt>
                <c:pt idx="185">
                  <c:v>43252</c:v>
                </c:pt>
                <c:pt idx="186">
                  <c:v>43282</c:v>
                </c:pt>
                <c:pt idx="187">
                  <c:v>43313</c:v>
                </c:pt>
                <c:pt idx="188">
                  <c:v>43344</c:v>
                </c:pt>
                <c:pt idx="189">
                  <c:v>43374</c:v>
                </c:pt>
                <c:pt idx="190">
                  <c:v>43405</c:v>
                </c:pt>
                <c:pt idx="191">
                  <c:v>43435</c:v>
                </c:pt>
                <c:pt idx="192">
                  <c:v>43466</c:v>
                </c:pt>
                <c:pt idx="193">
                  <c:v>43497</c:v>
                </c:pt>
                <c:pt idx="194">
                  <c:v>43525</c:v>
                </c:pt>
                <c:pt idx="195">
                  <c:v>43556</c:v>
                </c:pt>
                <c:pt idx="196">
                  <c:v>43586</c:v>
                </c:pt>
                <c:pt idx="197">
                  <c:v>43617</c:v>
                </c:pt>
                <c:pt idx="198">
                  <c:v>43647</c:v>
                </c:pt>
                <c:pt idx="199">
                  <c:v>43678</c:v>
                </c:pt>
                <c:pt idx="200">
                  <c:v>43709</c:v>
                </c:pt>
              </c:numCache>
            </c:numRef>
          </c:cat>
          <c:val>
            <c:numRef>
              <c:f>Sheet1!$C$2:$C$202</c:f>
              <c:numCache>
                <c:formatCode>#,##0_ ;\-#,##0\ </c:formatCode>
                <c:ptCount val="201"/>
                <c:pt idx="0">
                  <c:v>100</c:v>
                </c:pt>
                <c:pt idx="1">
                  <c:v>99.92</c:v>
                </c:pt>
                <c:pt idx="2">
                  <c:v>100.94</c:v>
                </c:pt>
                <c:pt idx="3">
                  <c:v>100.86</c:v>
                </c:pt>
                <c:pt idx="4">
                  <c:v>99.93</c:v>
                </c:pt>
                <c:pt idx="5">
                  <c:v>100.47</c:v>
                </c:pt>
                <c:pt idx="6">
                  <c:v>98.89</c:v>
                </c:pt>
                <c:pt idx="7">
                  <c:v>100.72</c:v>
                </c:pt>
                <c:pt idx="8">
                  <c:v>100.62</c:v>
                </c:pt>
                <c:pt idx="9">
                  <c:v>100.71</c:v>
                </c:pt>
                <c:pt idx="10">
                  <c:v>101.17</c:v>
                </c:pt>
                <c:pt idx="11">
                  <c:v>101.4</c:v>
                </c:pt>
                <c:pt idx="12">
                  <c:v>103.8</c:v>
                </c:pt>
                <c:pt idx="13">
                  <c:v>105.28</c:v>
                </c:pt>
                <c:pt idx="14">
                  <c:v>107.69</c:v>
                </c:pt>
                <c:pt idx="15">
                  <c:v>109.9</c:v>
                </c:pt>
                <c:pt idx="16">
                  <c:v>109.4</c:v>
                </c:pt>
                <c:pt idx="17">
                  <c:v>110.27</c:v>
                </c:pt>
                <c:pt idx="18">
                  <c:v>109.24</c:v>
                </c:pt>
                <c:pt idx="19">
                  <c:v>112.22</c:v>
                </c:pt>
                <c:pt idx="20">
                  <c:v>111.31</c:v>
                </c:pt>
                <c:pt idx="21">
                  <c:v>111.07</c:v>
                </c:pt>
                <c:pt idx="22">
                  <c:v>111.5</c:v>
                </c:pt>
                <c:pt idx="23">
                  <c:v>112.14</c:v>
                </c:pt>
                <c:pt idx="24">
                  <c:v>113.15</c:v>
                </c:pt>
                <c:pt idx="25">
                  <c:v>114.69</c:v>
                </c:pt>
                <c:pt idx="26">
                  <c:v>116.57</c:v>
                </c:pt>
                <c:pt idx="27">
                  <c:v>117.26</c:v>
                </c:pt>
                <c:pt idx="28">
                  <c:v>117.92</c:v>
                </c:pt>
                <c:pt idx="29">
                  <c:v>115.94</c:v>
                </c:pt>
                <c:pt idx="30">
                  <c:v>114.3</c:v>
                </c:pt>
                <c:pt idx="31">
                  <c:v>118.28</c:v>
                </c:pt>
                <c:pt idx="32">
                  <c:v>116.69</c:v>
                </c:pt>
                <c:pt idx="33">
                  <c:v>117.17</c:v>
                </c:pt>
                <c:pt idx="34">
                  <c:v>117.12</c:v>
                </c:pt>
                <c:pt idx="35">
                  <c:v>116.39</c:v>
                </c:pt>
                <c:pt idx="36">
                  <c:v>118.9</c:v>
                </c:pt>
                <c:pt idx="37">
                  <c:v>120.26</c:v>
                </c:pt>
                <c:pt idx="38">
                  <c:v>122.8</c:v>
                </c:pt>
                <c:pt idx="39">
                  <c:v>123.78</c:v>
                </c:pt>
                <c:pt idx="40">
                  <c:v>125.48</c:v>
                </c:pt>
                <c:pt idx="41">
                  <c:v>126.13</c:v>
                </c:pt>
                <c:pt idx="42">
                  <c:v>125.39</c:v>
                </c:pt>
                <c:pt idx="43">
                  <c:v>127.89</c:v>
                </c:pt>
                <c:pt idx="44">
                  <c:v>129.37</c:v>
                </c:pt>
                <c:pt idx="45">
                  <c:v>130.81</c:v>
                </c:pt>
                <c:pt idx="46">
                  <c:v>129.22999999999999</c:v>
                </c:pt>
                <c:pt idx="47">
                  <c:v>128.97</c:v>
                </c:pt>
                <c:pt idx="48">
                  <c:v>133.66999999999999</c:v>
                </c:pt>
                <c:pt idx="49">
                  <c:v>137.15</c:v>
                </c:pt>
                <c:pt idx="50">
                  <c:v>138.65</c:v>
                </c:pt>
                <c:pt idx="51">
                  <c:v>140.71</c:v>
                </c:pt>
                <c:pt idx="52">
                  <c:v>143.03</c:v>
                </c:pt>
                <c:pt idx="53">
                  <c:v>142.5</c:v>
                </c:pt>
                <c:pt idx="54">
                  <c:v>141.57</c:v>
                </c:pt>
                <c:pt idx="55">
                  <c:v>145.85</c:v>
                </c:pt>
                <c:pt idx="56">
                  <c:v>143.72999999999999</c:v>
                </c:pt>
                <c:pt idx="57">
                  <c:v>142.5</c:v>
                </c:pt>
                <c:pt idx="58">
                  <c:v>142.99</c:v>
                </c:pt>
                <c:pt idx="59">
                  <c:v>143.24</c:v>
                </c:pt>
                <c:pt idx="60">
                  <c:v>144.57</c:v>
                </c:pt>
                <c:pt idx="61">
                  <c:v>144.63</c:v>
                </c:pt>
                <c:pt idx="62">
                  <c:v>146.36000000000001</c:v>
                </c:pt>
                <c:pt idx="63">
                  <c:v>148.69</c:v>
                </c:pt>
                <c:pt idx="64">
                  <c:v>149.79</c:v>
                </c:pt>
                <c:pt idx="65">
                  <c:v>146.52000000000001</c:v>
                </c:pt>
                <c:pt idx="66">
                  <c:v>144.26</c:v>
                </c:pt>
                <c:pt idx="67">
                  <c:v>147.68</c:v>
                </c:pt>
                <c:pt idx="68">
                  <c:v>144.22</c:v>
                </c:pt>
                <c:pt idx="69">
                  <c:v>139.09</c:v>
                </c:pt>
                <c:pt idx="70">
                  <c:v>135.31</c:v>
                </c:pt>
                <c:pt idx="71">
                  <c:v>134.66999999999999</c:v>
                </c:pt>
                <c:pt idx="72">
                  <c:v>137.84</c:v>
                </c:pt>
                <c:pt idx="73">
                  <c:v>140.81</c:v>
                </c:pt>
                <c:pt idx="74">
                  <c:v>141.93</c:v>
                </c:pt>
                <c:pt idx="75">
                  <c:v>143.72999999999999</c:v>
                </c:pt>
                <c:pt idx="76">
                  <c:v>144.18</c:v>
                </c:pt>
                <c:pt idx="77">
                  <c:v>146.93</c:v>
                </c:pt>
                <c:pt idx="78">
                  <c:v>145.49</c:v>
                </c:pt>
                <c:pt idx="79">
                  <c:v>148.06</c:v>
                </c:pt>
                <c:pt idx="80">
                  <c:v>148.28</c:v>
                </c:pt>
                <c:pt idx="81">
                  <c:v>149.68</c:v>
                </c:pt>
                <c:pt idx="82">
                  <c:v>147.96</c:v>
                </c:pt>
                <c:pt idx="83">
                  <c:v>147.91</c:v>
                </c:pt>
                <c:pt idx="84">
                  <c:v>151.41</c:v>
                </c:pt>
                <c:pt idx="85">
                  <c:v>154.13</c:v>
                </c:pt>
                <c:pt idx="86">
                  <c:v>154.41</c:v>
                </c:pt>
                <c:pt idx="87">
                  <c:v>156.76</c:v>
                </c:pt>
                <c:pt idx="88">
                  <c:v>158.47999999999999</c:v>
                </c:pt>
                <c:pt idx="89">
                  <c:v>159.6</c:v>
                </c:pt>
                <c:pt idx="90">
                  <c:v>156.15</c:v>
                </c:pt>
                <c:pt idx="91">
                  <c:v>160.87</c:v>
                </c:pt>
                <c:pt idx="92">
                  <c:v>159.59</c:v>
                </c:pt>
                <c:pt idx="93">
                  <c:v>160.26</c:v>
                </c:pt>
                <c:pt idx="94">
                  <c:v>160.25</c:v>
                </c:pt>
                <c:pt idx="95">
                  <c:v>158.47</c:v>
                </c:pt>
                <c:pt idx="96">
                  <c:v>163.5</c:v>
                </c:pt>
                <c:pt idx="97">
                  <c:v>166.43</c:v>
                </c:pt>
                <c:pt idx="98">
                  <c:v>168.84</c:v>
                </c:pt>
                <c:pt idx="99">
                  <c:v>171.01</c:v>
                </c:pt>
                <c:pt idx="100">
                  <c:v>174.85</c:v>
                </c:pt>
                <c:pt idx="101">
                  <c:v>174.62</c:v>
                </c:pt>
                <c:pt idx="102">
                  <c:v>172.79</c:v>
                </c:pt>
                <c:pt idx="103">
                  <c:v>176.51</c:v>
                </c:pt>
                <c:pt idx="104">
                  <c:v>178.05</c:v>
                </c:pt>
                <c:pt idx="105">
                  <c:v>180.15</c:v>
                </c:pt>
                <c:pt idx="106">
                  <c:v>179.82</c:v>
                </c:pt>
                <c:pt idx="107">
                  <c:v>177.97</c:v>
                </c:pt>
                <c:pt idx="108">
                  <c:v>184.73</c:v>
                </c:pt>
                <c:pt idx="109">
                  <c:v>186.72</c:v>
                </c:pt>
                <c:pt idx="110">
                  <c:v>189.85</c:v>
                </c:pt>
                <c:pt idx="111">
                  <c:v>194.1</c:v>
                </c:pt>
                <c:pt idx="112">
                  <c:v>194.67</c:v>
                </c:pt>
                <c:pt idx="113">
                  <c:v>195.26</c:v>
                </c:pt>
                <c:pt idx="114">
                  <c:v>193.38</c:v>
                </c:pt>
                <c:pt idx="115">
                  <c:v>199.82</c:v>
                </c:pt>
                <c:pt idx="116">
                  <c:v>199.06</c:v>
                </c:pt>
                <c:pt idx="117">
                  <c:v>198.86</c:v>
                </c:pt>
                <c:pt idx="118">
                  <c:v>197.59</c:v>
                </c:pt>
                <c:pt idx="119">
                  <c:v>194.66</c:v>
                </c:pt>
                <c:pt idx="120">
                  <c:v>204.35</c:v>
                </c:pt>
                <c:pt idx="121">
                  <c:v>207.57</c:v>
                </c:pt>
                <c:pt idx="122">
                  <c:v>207.57</c:v>
                </c:pt>
                <c:pt idx="123">
                  <c:v>210.15</c:v>
                </c:pt>
                <c:pt idx="124">
                  <c:v>212.31</c:v>
                </c:pt>
                <c:pt idx="125">
                  <c:v>212.64</c:v>
                </c:pt>
                <c:pt idx="126">
                  <c:v>208.21</c:v>
                </c:pt>
                <c:pt idx="127">
                  <c:v>215.82</c:v>
                </c:pt>
                <c:pt idx="128">
                  <c:v>212.74</c:v>
                </c:pt>
                <c:pt idx="129">
                  <c:v>207.87</c:v>
                </c:pt>
                <c:pt idx="130">
                  <c:v>208.09</c:v>
                </c:pt>
                <c:pt idx="131">
                  <c:v>201.81</c:v>
                </c:pt>
                <c:pt idx="132">
                  <c:v>209.48</c:v>
                </c:pt>
                <c:pt idx="133">
                  <c:v>209.33</c:v>
                </c:pt>
                <c:pt idx="134">
                  <c:v>212.7</c:v>
                </c:pt>
                <c:pt idx="135">
                  <c:v>213</c:v>
                </c:pt>
                <c:pt idx="136">
                  <c:v>212.96</c:v>
                </c:pt>
                <c:pt idx="137">
                  <c:v>212.11</c:v>
                </c:pt>
                <c:pt idx="138">
                  <c:v>211.72</c:v>
                </c:pt>
                <c:pt idx="139">
                  <c:v>215.1</c:v>
                </c:pt>
                <c:pt idx="140">
                  <c:v>214.58</c:v>
                </c:pt>
                <c:pt idx="141">
                  <c:v>215.73</c:v>
                </c:pt>
                <c:pt idx="142">
                  <c:v>214.71</c:v>
                </c:pt>
                <c:pt idx="143">
                  <c:v>213.75</c:v>
                </c:pt>
                <c:pt idx="144">
                  <c:v>220.07</c:v>
                </c:pt>
                <c:pt idx="145">
                  <c:v>223.69</c:v>
                </c:pt>
                <c:pt idx="146">
                  <c:v>226.7</c:v>
                </c:pt>
                <c:pt idx="147">
                  <c:v>231.88</c:v>
                </c:pt>
                <c:pt idx="148">
                  <c:v>231.8</c:v>
                </c:pt>
                <c:pt idx="149">
                  <c:v>235.07</c:v>
                </c:pt>
                <c:pt idx="150">
                  <c:v>224.73</c:v>
                </c:pt>
                <c:pt idx="151">
                  <c:v>236.84</c:v>
                </c:pt>
                <c:pt idx="152">
                  <c:v>236.42</c:v>
                </c:pt>
                <c:pt idx="153">
                  <c:v>233.2</c:v>
                </c:pt>
                <c:pt idx="154">
                  <c:v>233.34</c:v>
                </c:pt>
                <c:pt idx="155">
                  <c:v>229.99</c:v>
                </c:pt>
                <c:pt idx="156">
                  <c:v>240.6</c:v>
                </c:pt>
                <c:pt idx="157">
                  <c:v>240.92</c:v>
                </c:pt>
                <c:pt idx="158">
                  <c:v>244.56</c:v>
                </c:pt>
                <c:pt idx="159">
                  <c:v>250.05</c:v>
                </c:pt>
                <c:pt idx="160">
                  <c:v>254.11</c:v>
                </c:pt>
                <c:pt idx="161">
                  <c:v>253.74</c:v>
                </c:pt>
                <c:pt idx="162">
                  <c:v>250.18</c:v>
                </c:pt>
                <c:pt idx="163">
                  <c:v>261.14999999999998</c:v>
                </c:pt>
                <c:pt idx="164">
                  <c:v>261.07</c:v>
                </c:pt>
                <c:pt idx="165">
                  <c:v>264.01</c:v>
                </c:pt>
                <c:pt idx="166">
                  <c:v>259.11</c:v>
                </c:pt>
                <c:pt idx="167">
                  <c:v>257.73</c:v>
                </c:pt>
                <c:pt idx="168">
                  <c:v>268.02</c:v>
                </c:pt>
                <c:pt idx="169">
                  <c:v>271.66000000000003</c:v>
                </c:pt>
                <c:pt idx="170">
                  <c:v>276.86</c:v>
                </c:pt>
                <c:pt idx="171">
                  <c:v>280.11</c:v>
                </c:pt>
                <c:pt idx="172">
                  <c:v>278.45999999999998</c:v>
                </c:pt>
                <c:pt idx="173">
                  <c:v>280.35000000000002</c:v>
                </c:pt>
                <c:pt idx="174">
                  <c:v>276.58999999999997</c:v>
                </c:pt>
                <c:pt idx="175">
                  <c:v>282.8</c:v>
                </c:pt>
                <c:pt idx="176">
                  <c:v>283.06</c:v>
                </c:pt>
                <c:pt idx="177">
                  <c:v>282.57</c:v>
                </c:pt>
                <c:pt idx="178">
                  <c:v>277.79000000000002</c:v>
                </c:pt>
                <c:pt idx="179">
                  <c:v>279.08</c:v>
                </c:pt>
                <c:pt idx="180">
                  <c:v>280.20999999999998</c:v>
                </c:pt>
                <c:pt idx="181">
                  <c:v>284.60000000000002</c:v>
                </c:pt>
                <c:pt idx="182">
                  <c:v>283.7</c:v>
                </c:pt>
                <c:pt idx="183">
                  <c:v>287.23</c:v>
                </c:pt>
                <c:pt idx="184">
                  <c:v>290.2</c:v>
                </c:pt>
                <c:pt idx="185">
                  <c:v>287.89999999999998</c:v>
                </c:pt>
                <c:pt idx="186">
                  <c:v>286.06</c:v>
                </c:pt>
                <c:pt idx="187">
                  <c:v>289.27999999999997</c:v>
                </c:pt>
                <c:pt idx="188">
                  <c:v>286.67</c:v>
                </c:pt>
                <c:pt idx="189">
                  <c:v>283.01</c:v>
                </c:pt>
                <c:pt idx="190">
                  <c:v>277.63</c:v>
                </c:pt>
                <c:pt idx="191">
                  <c:v>280.77</c:v>
                </c:pt>
                <c:pt idx="192">
                  <c:v>287.97000000000003</c:v>
                </c:pt>
                <c:pt idx="193">
                  <c:v>290.08</c:v>
                </c:pt>
                <c:pt idx="194">
                  <c:v>286.82</c:v>
                </c:pt>
                <c:pt idx="195">
                  <c:v>290.57</c:v>
                </c:pt>
                <c:pt idx="196">
                  <c:v>294.35000000000002</c:v>
                </c:pt>
                <c:pt idx="197">
                  <c:v>292.83999999999997</c:v>
                </c:pt>
                <c:pt idx="198">
                  <c:v>283.63</c:v>
                </c:pt>
                <c:pt idx="199">
                  <c:v>292.42</c:v>
                </c:pt>
                <c:pt idx="200">
                  <c:v>289.0899999999999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slo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02</c:f>
              <c:numCache>
                <c:formatCode>mmm\-yy</c:formatCode>
                <c:ptCount val="201"/>
                <c:pt idx="0">
                  <c:v>37622</c:v>
                </c:pt>
                <c:pt idx="1">
                  <c:v>37653</c:v>
                </c:pt>
                <c:pt idx="2">
                  <c:v>37681</c:v>
                </c:pt>
                <c:pt idx="3">
                  <c:v>37712</c:v>
                </c:pt>
                <c:pt idx="4">
                  <c:v>37742</c:v>
                </c:pt>
                <c:pt idx="5">
                  <c:v>37773</c:v>
                </c:pt>
                <c:pt idx="6">
                  <c:v>37803</c:v>
                </c:pt>
                <c:pt idx="7">
                  <c:v>37834</c:v>
                </c:pt>
                <c:pt idx="8">
                  <c:v>37865</c:v>
                </c:pt>
                <c:pt idx="9">
                  <c:v>37895</c:v>
                </c:pt>
                <c:pt idx="10">
                  <c:v>37926</c:v>
                </c:pt>
                <c:pt idx="11">
                  <c:v>37956</c:v>
                </c:pt>
                <c:pt idx="12">
                  <c:v>37987</c:v>
                </c:pt>
                <c:pt idx="13">
                  <c:v>38018</c:v>
                </c:pt>
                <c:pt idx="14">
                  <c:v>38047</c:v>
                </c:pt>
                <c:pt idx="15">
                  <c:v>38078</c:v>
                </c:pt>
                <c:pt idx="16">
                  <c:v>38108</c:v>
                </c:pt>
                <c:pt idx="17">
                  <c:v>38139</c:v>
                </c:pt>
                <c:pt idx="18">
                  <c:v>38169</c:v>
                </c:pt>
                <c:pt idx="19">
                  <c:v>38200</c:v>
                </c:pt>
                <c:pt idx="20">
                  <c:v>38231</c:v>
                </c:pt>
                <c:pt idx="21">
                  <c:v>38261</c:v>
                </c:pt>
                <c:pt idx="22">
                  <c:v>38292</c:v>
                </c:pt>
                <c:pt idx="23">
                  <c:v>38322</c:v>
                </c:pt>
                <c:pt idx="24">
                  <c:v>38353</c:v>
                </c:pt>
                <c:pt idx="25">
                  <c:v>38384</c:v>
                </c:pt>
                <c:pt idx="26">
                  <c:v>38412</c:v>
                </c:pt>
                <c:pt idx="27">
                  <c:v>38443</c:v>
                </c:pt>
                <c:pt idx="28">
                  <c:v>38473</c:v>
                </c:pt>
                <c:pt idx="29">
                  <c:v>38504</c:v>
                </c:pt>
                <c:pt idx="30">
                  <c:v>38534</c:v>
                </c:pt>
                <c:pt idx="31">
                  <c:v>38565</c:v>
                </c:pt>
                <c:pt idx="32">
                  <c:v>38596</c:v>
                </c:pt>
                <c:pt idx="33">
                  <c:v>38626</c:v>
                </c:pt>
                <c:pt idx="34">
                  <c:v>38657</c:v>
                </c:pt>
                <c:pt idx="35">
                  <c:v>38687</c:v>
                </c:pt>
                <c:pt idx="36">
                  <c:v>38718</c:v>
                </c:pt>
                <c:pt idx="37">
                  <c:v>38749</c:v>
                </c:pt>
                <c:pt idx="38">
                  <c:v>38777</c:v>
                </c:pt>
                <c:pt idx="39">
                  <c:v>38808</c:v>
                </c:pt>
                <c:pt idx="40">
                  <c:v>38838</c:v>
                </c:pt>
                <c:pt idx="41">
                  <c:v>38869</c:v>
                </c:pt>
                <c:pt idx="42">
                  <c:v>38899</c:v>
                </c:pt>
                <c:pt idx="43">
                  <c:v>38930</c:v>
                </c:pt>
                <c:pt idx="44">
                  <c:v>38961</c:v>
                </c:pt>
                <c:pt idx="45">
                  <c:v>38991</c:v>
                </c:pt>
                <c:pt idx="46">
                  <c:v>39022</c:v>
                </c:pt>
                <c:pt idx="47">
                  <c:v>39052</c:v>
                </c:pt>
                <c:pt idx="48">
                  <c:v>39083</c:v>
                </c:pt>
                <c:pt idx="49">
                  <c:v>39114</c:v>
                </c:pt>
                <c:pt idx="50">
                  <c:v>39142</c:v>
                </c:pt>
                <c:pt idx="51">
                  <c:v>39173</c:v>
                </c:pt>
                <c:pt idx="52">
                  <c:v>39203</c:v>
                </c:pt>
                <c:pt idx="53">
                  <c:v>39234</c:v>
                </c:pt>
                <c:pt idx="54">
                  <c:v>39264</c:v>
                </c:pt>
                <c:pt idx="55">
                  <c:v>39295</c:v>
                </c:pt>
                <c:pt idx="56">
                  <c:v>39326</c:v>
                </c:pt>
                <c:pt idx="57">
                  <c:v>39356</c:v>
                </c:pt>
                <c:pt idx="58">
                  <c:v>39387</c:v>
                </c:pt>
                <c:pt idx="59">
                  <c:v>39417</c:v>
                </c:pt>
                <c:pt idx="60">
                  <c:v>39448</c:v>
                </c:pt>
                <c:pt idx="61">
                  <c:v>39479</c:v>
                </c:pt>
                <c:pt idx="62">
                  <c:v>39508</c:v>
                </c:pt>
                <c:pt idx="63">
                  <c:v>39539</c:v>
                </c:pt>
                <c:pt idx="64">
                  <c:v>39569</c:v>
                </c:pt>
                <c:pt idx="65">
                  <c:v>39600</c:v>
                </c:pt>
                <c:pt idx="66">
                  <c:v>39630</c:v>
                </c:pt>
                <c:pt idx="67">
                  <c:v>39661</c:v>
                </c:pt>
                <c:pt idx="68">
                  <c:v>39692</c:v>
                </c:pt>
                <c:pt idx="69">
                  <c:v>39722</c:v>
                </c:pt>
                <c:pt idx="70">
                  <c:v>39753</c:v>
                </c:pt>
                <c:pt idx="71">
                  <c:v>39783</c:v>
                </c:pt>
                <c:pt idx="72">
                  <c:v>39814</c:v>
                </c:pt>
                <c:pt idx="73">
                  <c:v>39845</c:v>
                </c:pt>
                <c:pt idx="74">
                  <c:v>39873</c:v>
                </c:pt>
                <c:pt idx="75">
                  <c:v>39904</c:v>
                </c:pt>
                <c:pt idx="76">
                  <c:v>39934</c:v>
                </c:pt>
                <c:pt idx="77">
                  <c:v>39965</c:v>
                </c:pt>
                <c:pt idx="78">
                  <c:v>39995</c:v>
                </c:pt>
                <c:pt idx="79">
                  <c:v>40026</c:v>
                </c:pt>
                <c:pt idx="80">
                  <c:v>40057</c:v>
                </c:pt>
                <c:pt idx="81">
                  <c:v>40087</c:v>
                </c:pt>
                <c:pt idx="82">
                  <c:v>40118</c:v>
                </c:pt>
                <c:pt idx="83">
                  <c:v>40148</c:v>
                </c:pt>
                <c:pt idx="84">
                  <c:v>40179</c:v>
                </c:pt>
                <c:pt idx="85">
                  <c:v>40210</c:v>
                </c:pt>
                <c:pt idx="86">
                  <c:v>40238</c:v>
                </c:pt>
                <c:pt idx="87">
                  <c:v>40269</c:v>
                </c:pt>
                <c:pt idx="88">
                  <c:v>40299</c:v>
                </c:pt>
                <c:pt idx="89">
                  <c:v>40330</c:v>
                </c:pt>
                <c:pt idx="90">
                  <c:v>40360</c:v>
                </c:pt>
                <c:pt idx="91">
                  <c:v>40391</c:v>
                </c:pt>
                <c:pt idx="92">
                  <c:v>40422</c:v>
                </c:pt>
                <c:pt idx="93">
                  <c:v>40452</c:v>
                </c:pt>
                <c:pt idx="94">
                  <c:v>40483</c:v>
                </c:pt>
                <c:pt idx="95">
                  <c:v>40513</c:v>
                </c:pt>
                <c:pt idx="96">
                  <c:v>40544</c:v>
                </c:pt>
                <c:pt idx="97">
                  <c:v>40575</c:v>
                </c:pt>
                <c:pt idx="98">
                  <c:v>40603</c:v>
                </c:pt>
                <c:pt idx="99">
                  <c:v>40634</c:v>
                </c:pt>
                <c:pt idx="100">
                  <c:v>40664</c:v>
                </c:pt>
                <c:pt idx="101">
                  <c:v>40695</c:v>
                </c:pt>
                <c:pt idx="102">
                  <c:v>40725</c:v>
                </c:pt>
                <c:pt idx="103">
                  <c:v>40756</c:v>
                </c:pt>
                <c:pt idx="104">
                  <c:v>40787</c:v>
                </c:pt>
                <c:pt idx="105">
                  <c:v>40817</c:v>
                </c:pt>
                <c:pt idx="106">
                  <c:v>40848</c:v>
                </c:pt>
                <c:pt idx="107">
                  <c:v>40878</c:v>
                </c:pt>
                <c:pt idx="108">
                  <c:v>40909</c:v>
                </c:pt>
                <c:pt idx="109">
                  <c:v>40940</c:v>
                </c:pt>
                <c:pt idx="110">
                  <c:v>40969</c:v>
                </c:pt>
                <c:pt idx="111">
                  <c:v>41000</c:v>
                </c:pt>
                <c:pt idx="112">
                  <c:v>41030</c:v>
                </c:pt>
                <c:pt idx="113">
                  <c:v>41061</c:v>
                </c:pt>
                <c:pt idx="114">
                  <c:v>41091</c:v>
                </c:pt>
                <c:pt idx="115">
                  <c:v>41122</c:v>
                </c:pt>
                <c:pt idx="116">
                  <c:v>41153</c:v>
                </c:pt>
                <c:pt idx="117">
                  <c:v>41183</c:v>
                </c:pt>
                <c:pt idx="118">
                  <c:v>41214</c:v>
                </c:pt>
                <c:pt idx="119">
                  <c:v>41244</c:v>
                </c:pt>
                <c:pt idx="120">
                  <c:v>41275</c:v>
                </c:pt>
                <c:pt idx="121">
                  <c:v>41306</c:v>
                </c:pt>
                <c:pt idx="122">
                  <c:v>41334</c:v>
                </c:pt>
                <c:pt idx="123">
                  <c:v>41365</c:v>
                </c:pt>
                <c:pt idx="124">
                  <c:v>41395</c:v>
                </c:pt>
                <c:pt idx="125">
                  <c:v>41426</c:v>
                </c:pt>
                <c:pt idx="126">
                  <c:v>41456</c:v>
                </c:pt>
                <c:pt idx="127">
                  <c:v>41487</c:v>
                </c:pt>
                <c:pt idx="128">
                  <c:v>41518</c:v>
                </c:pt>
                <c:pt idx="129">
                  <c:v>41548</c:v>
                </c:pt>
                <c:pt idx="130">
                  <c:v>41579</c:v>
                </c:pt>
                <c:pt idx="131">
                  <c:v>41609</c:v>
                </c:pt>
                <c:pt idx="132">
                  <c:v>41640</c:v>
                </c:pt>
                <c:pt idx="133">
                  <c:v>41671</c:v>
                </c:pt>
                <c:pt idx="134">
                  <c:v>41699</c:v>
                </c:pt>
                <c:pt idx="135">
                  <c:v>41730</c:v>
                </c:pt>
                <c:pt idx="136">
                  <c:v>41760</c:v>
                </c:pt>
                <c:pt idx="137">
                  <c:v>41791</c:v>
                </c:pt>
                <c:pt idx="138">
                  <c:v>41821</c:v>
                </c:pt>
                <c:pt idx="139">
                  <c:v>41852</c:v>
                </c:pt>
                <c:pt idx="140">
                  <c:v>41883</c:v>
                </c:pt>
                <c:pt idx="141">
                  <c:v>41913</c:v>
                </c:pt>
                <c:pt idx="142">
                  <c:v>41944</c:v>
                </c:pt>
                <c:pt idx="143">
                  <c:v>41974</c:v>
                </c:pt>
                <c:pt idx="144">
                  <c:v>42005</c:v>
                </c:pt>
                <c:pt idx="145">
                  <c:v>42036</c:v>
                </c:pt>
                <c:pt idx="146">
                  <c:v>42064</c:v>
                </c:pt>
                <c:pt idx="147">
                  <c:v>42095</c:v>
                </c:pt>
                <c:pt idx="148">
                  <c:v>42125</c:v>
                </c:pt>
                <c:pt idx="149">
                  <c:v>42156</c:v>
                </c:pt>
                <c:pt idx="150">
                  <c:v>42186</c:v>
                </c:pt>
                <c:pt idx="151">
                  <c:v>42217</c:v>
                </c:pt>
                <c:pt idx="152">
                  <c:v>42248</c:v>
                </c:pt>
                <c:pt idx="153">
                  <c:v>42278</c:v>
                </c:pt>
                <c:pt idx="154">
                  <c:v>42309</c:v>
                </c:pt>
                <c:pt idx="155">
                  <c:v>42339</c:v>
                </c:pt>
                <c:pt idx="156">
                  <c:v>42370</c:v>
                </c:pt>
                <c:pt idx="157">
                  <c:v>42401</c:v>
                </c:pt>
                <c:pt idx="158">
                  <c:v>42430</c:v>
                </c:pt>
                <c:pt idx="159">
                  <c:v>42461</c:v>
                </c:pt>
                <c:pt idx="160">
                  <c:v>42491</c:v>
                </c:pt>
                <c:pt idx="161">
                  <c:v>42522</c:v>
                </c:pt>
                <c:pt idx="162">
                  <c:v>42552</c:v>
                </c:pt>
                <c:pt idx="163">
                  <c:v>42583</c:v>
                </c:pt>
                <c:pt idx="164">
                  <c:v>42614</c:v>
                </c:pt>
                <c:pt idx="165">
                  <c:v>42644</c:v>
                </c:pt>
                <c:pt idx="166">
                  <c:v>42675</c:v>
                </c:pt>
                <c:pt idx="167">
                  <c:v>42705</c:v>
                </c:pt>
                <c:pt idx="168">
                  <c:v>42736</c:v>
                </c:pt>
                <c:pt idx="169">
                  <c:v>42767</c:v>
                </c:pt>
                <c:pt idx="170">
                  <c:v>42795</c:v>
                </c:pt>
                <c:pt idx="171">
                  <c:v>42826</c:v>
                </c:pt>
                <c:pt idx="172">
                  <c:v>42856</c:v>
                </c:pt>
                <c:pt idx="173">
                  <c:v>42887</c:v>
                </c:pt>
                <c:pt idx="174">
                  <c:v>42917</c:v>
                </c:pt>
                <c:pt idx="175">
                  <c:v>42948</c:v>
                </c:pt>
                <c:pt idx="176">
                  <c:v>42979</c:v>
                </c:pt>
                <c:pt idx="177">
                  <c:v>43009</c:v>
                </c:pt>
                <c:pt idx="178">
                  <c:v>43040</c:v>
                </c:pt>
                <c:pt idx="179">
                  <c:v>43070</c:v>
                </c:pt>
                <c:pt idx="180">
                  <c:v>43101</c:v>
                </c:pt>
                <c:pt idx="181">
                  <c:v>43132</c:v>
                </c:pt>
                <c:pt idx="182">
                  <c:v>43160</c:v>
                </c:pt>
                <c:pt idx="183">
                  <c:v>43191</c:v>
                </c:pt>
                <c:pt idx="184">
                  <c:v>43221</c:v>
                </c:pt>
                <c:pt idx="185">
                  <c:v>43252</c:v>
                </c:pt>
                <c:pt idx="186">
                  <c:v>43282</c:v>
                </c:pt>
                <c:pt idx="187">
                  <c:v>43313</c:v>
                </c:pt>
                <c:pt idx="188">
                  <c:v>43344</c:v>
                </c:pt>
                <c:pt idx="189">
                  <c:v>43374</c:v>
                </c:pt>
                <c:pt idx="190">
                  <c:v>43405</c:v>
                </c:pt>
                <c:pt idx="191">
                  <c:v>43435</c:v>
                </c:pt>
                <c:pt idx="192">
                  <c:v>43466</c:v>
                </c:pt>
                <c:pt idx="193">
                  <c:v>43497</c:v>
                </c:pt>
                <c:pt idx="194">
                  <c:v>43525</c:v>
                </c:pt>
                <c:pt idx="195">
                  <c:v>43556</c:v>
                </c:pt>
                <c:pt idx="196">
                  <c:v>43586</c:v>
                </c:pt>
                <c:pt idx="197">
                  <c:v>43617</c:v>
                </c:pt>
                <c:pt idx="198">
                  <c:v>43647</c:v>
                </c:pt>
                <c:pt idx="199">
                  <c:v>43678</c:v>
                </c:pt>
                <c:pt idx="200">
                  <c:v>43709</c:v>
                </c:pt>
              </c:numCache>
            </c:numRef>
          </c:cat>
          <c:val>
            <c:numRef>
              <c:f>Sheet1!$F$2:$F$202</c:f>
              <c:numCache>
                <c:formatCode>#,##0_ ;\-#,##0\ </c:formatCode>
                <c:ptCount val="201"/>
                <c:pt idx="0">
                  <c:v>100</c:v>
                </c:pt>
                <c:pt idx="1">
                  <c:v>100.28</c:v>
                </c:pt>
                <c:pt idx="2">
                  <c:v>99.96</c:v>
                </c:pt>
                <c:pt idx="3">
                  <c:v>98.16</c:v>
                </c:pt>
                <c:pt idx="4">
                  <c:v>96.42</c:v>
                </c:pt>
                <c:pt idx="5">
                  <c:v>95.21</c:v>
                </c:pt>
                <c:pt idx="6">
                  <c:v>97.69</c:v>
                </c:pt>
                <c:pt idx="7">
                  <c:v>99.45</c:v>
                </c:pt>
                <c:pt idx="8">
                  <c:v>103.19</c:v>
                </c:pt>
                <c:pt idx="9">
                  <c:v>103.71</c:v>
                </c:pt>
                <c:pt idx="10">
                  <c:v>105.91</c:v>
                </c:pt>
                <c:pt idx="11">
                  <c:v>105.65</c:v>
                </c:pt>
                <c:pt idx="12">
                  <c:v>109.18</c:v>
                </c:pt>
                <c:pt idx="13">
                  <c:v>112.57</c:v>
                </c:pt>
                <c:pt idx="14">
                  <c:v>111.88</c:v>
                </c:pt>
                <c:pt idx="15">
                  <c:v>110.18</c:v>
                </c:pt>
                <c:pt idx="16">
                  <c:v>110.31</c:v>
                </c:pt>
                <c:pt idx="17">
                  <c:v>110.09</c:v>
                </c:pt>
                <c:pt idx="18">
                  <c:v>112.81</c:v>
                </c:pt>
                <c:pt idx="19">
                  <c:v>115</c:v>
                </c:pt>
                <c:pt idx="20">
                  <c:v>114.81</c:v>
                </c:pt>
                <c:pt idx="21">
                  <c:v>116.04</c:v>
                </c:pt>
                <c:pt idx="22">
                  <c:v>115.74</c:v>
                </c:pt>
                <c:pt idx="23">
                  <c:v>116.4</c:v>
                </c:pt>
                <c:pt idx="24">
                  <c:v>120.68</c:v>
                </c:pt>
                <c:pt idx="25">
                  <c:v>121.79</c:v>
                </c:pt>
                <c:pt idx="26">
                  <c:v>121.18</c:v>
                </c:pt>
                <c:pt idx="27">
                  <c:v>121.21</c:v>
                </c:pt>
                <c:pt idx="28">
                  <c:v>120.86</c:v>
                </c:pt>
                <c:pt idx="29">
                  <c:v>120.04</c:v>
                </c:pt>
                <c:pt idx="30">
                  <c:v>121.6</c:v>
                </c:pt>
                <c:pt idx="31">
                  <c:v>125.46</c:v>
                </c:pt>
                <c:pt idx="32">
                  <c:v>125.75</c:v>
                </c:pt>
                <c:pt idx="33">
                  <c:v>127.33</c:v>
                </c:pt>
                <c:pt idx="34">
                  <c:v>126.64</c:v>
                </c:pt>
                <c:pt idx="35">
                  <c:v>128.22</c:v>
                </c:pt>
                <c:pt idx="36">
                  <c:v>132.69999999999999</c:v>
                </c:pt>
                <c:pt idx="37">
                  <c:v>135.16</c:v>
                </c:pt>
                <c:pt idx="38">
                  <c:v>136.22999999999999</c:v>
                </c:pt>
                <c:pt idx="39">
                  <c:v>138.28</c:v>
                </c:pt>
                <c:pt idx="40">
                  <c:v>140.32</c:v>
                </c:pt>
                <c:pt idx="41">
                  <c:v>141.61000000000001</c:v>
                </c:pt>
                <c:pt idx="42">
                  <c:v>143.21</c:v>
                </c:pt>
                <c:pt idx="43">
                  <c:v>148.21</c:v>
                </c:pt>
                <c:pt idx="44">
                  <c:v>149.54</c:v>
                </c:pt>
                <c:pt idx="45">
                  <c:v>149.94</c:v>
                </c:pt>
                <c:pt idx="46">
                  <c:v>149.62</c:v>
                </c:pt>
                <c:pt idx="47">
                  <c:v>153.88</c:v>
                </c:pt>
                <c:pt idx="48">
                  <c:v>158.30000000000001</c:v>
                </c:pt>
                <c:pt idx="49">
                  <c:v>159.4</c:v>
                </c:pt>
                <c:pt idx="50">
                  <c:v>158.69999999999999</c:v>
                </c:pt>
                <c:pt idx="51">
                  <c:v>159.22</c:v>
                </c:pt>
                <c:pt idx="52">
                  <c:v>158.86000000000001</c:v>
                </c:pt>
                <c:pt idx="53">
                  <c:v>157.79</c:v>
                </c:pt>
                <c:pt idx="54">
                  <c:v>159.06</c:v>
                </c:pt>
                <c:pt idx="55">
                  <c:v>160.24</c:v>
                </c:pt>
                <c:pt idx="56">
                  <c:v>156.72</c:v>
                </c:pt>
                <c:pt idx="57">
                  <c:v>154.15</c:v>
                </c:pt>
                <c:pt idx="58">
                  <c:v>151.94999999999999</c:v>
                </c:pt>
                <c:pt idx="59">
                  <c:v>151.59</c:v>
                </c:pt>
                <c:pt idx="60">
                  <c:v>154.08000000000001</c:v>
                </c:pt>
                <c:pt idx="61">
                  <c:v>153.16999999999999</c:v>
                </c:pt>
                <c:pt idx="62">
                  <c:v>154.22</c:v>
                </c:pt>
                <c:pt idx="63">
                  <c:v>153.94</c:v>
                </c:pt>
                <c:pt idx="64">
                  <c:v>151.93</c:v>
                </c:pt>
                <c:pt idx="65">
                  <c:v>150.81</c:v>
                </c:pt>
                <c:pt idx="66">
                  <c:v>148.19</c:v>
                </c:pt>
                <c:pt idx="67">
                  <c:v>150.85</c:v>
                </c:pt>
                <c:pt idx="68">
                  <c:v>148.4</c:v>
                </c:pt>
                <c:pt idx="69">
                  <c:v>142.77000000000001</c:v>
                </c:pt>
                <c:pt idx="70">
                  <c:v>136.72999999999999</c:v>
                </c:pt>
                <c:pt idx="71">
                  <c:v>133.82</c:v>
                </c:pt>
                <c:pt idx="72">
                  <c:v>141.12</c:v>
                </c:pt>
                <c:pt idx="73">
                  <c:v>144.25</c:v>
                </c:pt>
                <c:pt idx="74">
                  <c:v>146.27000000000001</c:v>
                </c:pt>
                <c:pt idx="75">
                  <c:v>148.82</c:v>
                </c:pt>
                <c:pt idx="76">
                  <c:v>150.01</c:v>
                </c:pt>
                <c:pt idx="77">
                  <c:v>151.74</c:v>
                </c:pt>
                <c:pt idx="78">
                  <c:v>152.29</c:v>
                </c:pt>
                <c:pt idx="79">
                  <c:v>157.16</c:v>
                </c:pt>
                <c:pt idx="80">
                  <c:v>155.58000000000001</c:v>
                </c:pt>
                <c:pt idx="81">
                  <c:v>156.31</c:v>
                </c:pt>
                <c:pt idx="82">
                  <c:v>155.11000000000001</c:v>
                </c:pt>
                <c:pt idx="83">
                  <c:v>155.22999999999999</c:v>
                </c:pt>
                <c:pt idx="84">
                  <c:v>159.76</c:v>
                </c:pt>
                <c:pt idx="85">
                  <c:v>159.13</c:v>
                </c:pt>
                <c:pt idx="86">
                  <c:v>160.79</c:v>
                </c:pt>
                <c:pt idx="87">
                  <c:v>162.08000000000001</c:v>
                </c:pt>
                <c:pt idx="88">
                  <c:v>162.88999999999999</c:v>
                </c:pt>
                <c:pt idx="89">
                  <c:v>161.44</c:v>
                </c:pt>
                <c:pt idx="90">
                  <c:v>160.19</c:v>
                </c:pt>
                <c:pt idx="91">
                  <c:v>165.47</c:v>
                </c:pt>
                <c:pt idx="92">
                  <c:v>166.08</c:v>
                </c:pt>
                <c:pt idx="93">
                  <c:v>166.93</c:v>
                </c:pt>
                <c:pt idx="94">
                  <c:v>167.15</c:v>
                </c:pt>
                <c:pt idx="95">
                  <c:v>168.83</c:v>
                </c:pt>
                <c:pt idx="96">
                  <c:v>175.46</c:v>
                </c:pt>
                <c:pt idx="97">
                  <c:v>176.78</c:v>
                </c:pt>
                <c:pt idx="98">
                  <c:v>178.22</c:v>
                </c:pt>
                <c:pt idx="99">
                  <c:v>179.93</c:v>
                </c:pt>
                <c:pt idx="100">
                  <c:v>181.4</c:v>
                </c:pt>
                <c:pt idx="101">
                  <c:v>179.3</c:v>
                </c:pt>
                <c:pt idx="102">
                  <c:v>180.52</c:v>
                </c:pt>
                <c:pt idx="103">
                  <c:v>184.67</c:v>
                </c:pt>
                <c:pt idx="104">
                  <c:v>184.89</c:v>
                </c:pt>
                <c:pt idx="105">
                  <c:v>186.77</c:v>
                </c:pt>
                <c:pt idx="106">
                  <c:v>186.78</c:v>
                </c:pt>
                <c:pt idx="107">
                  <c:v>186</c:v>
                </c:pt>
                <c:pt idx="108">
                  <c:v>190.36</c:v>
                </c:pt>
                <c:pt idx="109">
                  <c:v>192.28</c:v>
                </c:pt>
                <c:pt idx="110">
                  <c:v>194.9</c:v>
                </c:pt>
                <c:pt idx="111">
                  <c:v>196.56</c:v>
                </c:pt>
                <c:pt idx="112">
                  <c:v>199.31</c:v>
                </c:pt>
                <c:pt idx="113">
                  <c:v>198.9</c:v>
                </c:pt>
                <c:pt idx="114">
                  <c:v>202.88</c:v>
                </c:pt>
                <c:pt idx="115">
                  <c:v>204.88</c:v>
                </c:pt>
                <c:pt idx="116">
                  <c:v>202.48</c:v>
                </c:pt>
                <c:pt idx="117">
                  <c:v>203.37</c:v>
                </c:pt>
                <c:pt idx="118">
                  <c:v>206.19</c:v>
                </c:pt>
                <c:pt idx="119">
                  <c:v>208.36</c:v>
                </c:pt>
                <c:pt idx="120">
                  <c:v>211.7</c:v>
                </c:pt>
                <c:pt idx="121">
                  <c:v>210.99</c:v>
                </c:pt>
                <c:pt idx="122">
                  <c:v>212.55</c:v>
                </c:pt>
                <c:pt idx="123">
                  <c:v>212.65</c:v>
                </c:pt>
                <c:pt idx="124">
                  <c:v>212.41</c:v>
                </c:pt>
                <c:pt idx="125">
                  <c:v>208.04</c:v>
                </c:pt>
                <c:pt idx="126">
                  <c:v>209.59</c:v>
                </c:pt>
                <c:pt idx="127">
                  <c:v>209.15</c:v>
                </c:pt>
                <c:pt idx="128">
                  <c:v>204.88</c:v>
                </c:pt>
                <c:pt idx="129">
                  <c:v>200.13</c:v>
                </c:pt>
                <c:pt idx="130">
                  <c:v>197.83</c:v>
                </c:pt>
                <c:pt idx="131">
                  <c:v>195.92</c:v>
                </c:pt>
                <c:pt idx="132">
                  <c:v>200.58</c:v>
                </c:pt>
                <c:pt idx="133">
                  <c:v>203.13</c:v>
                </c:pt>
                <c:pt idx="134">
                  <c:v>205.17</c:v>
                </c:pt>
                <c:pt idx="135">
                  <c:v>210.15</c:v>
                </c:pt>
                <c:pt idx="136">
                  <c:v>211.98</c:v>
                </c:pt>
                <c:pt idx="137">
                  <c:v>210.85</c:v>
                </c:pt>
                <c:pt idx="138">
                  <c:v>215.42</c:v>
                </c:pt>
                <c:pt idx="139">
                  <c:v>216.21</c:v>
                </c:pt>
                <c:pt idx="140">
                  <c:v>216.18</c:v>
                </c:pt>
                <c:pt idx="141">
                  <c:v>218.31</c:v>
                </c:pt>
                <c:pt idx="142">
                  <c:v>220.29</c:v>
                </c:pt>
                <c:pt idx="143">
                  <c:v>222.47</c:v>
                </c:pt>
                <c:pt idx="144">
                  <c:v>228.79</c:v>
                </c:pt>
                <c:pt idx="145">
                  <c:v>233.55</c:v>
                </c:pt>
                <c:pt idx="146">
                  <c:v>232.88</c:v>
                </c:pt>
                <c:pt idx="147">
                  <c:v>235.9</c:v>
                </c:pt>
                <c:pt idx="148">
                  <c:v>237.41</c:v>
                </c:pt>
                <c:pt idx="149">
                  <c:v>238.63</c:v>
                </c:pt>
                <c:pt idx="150">
                  <c:v>248.21</c:v>
                </c:pt>
                <c:pt idx="151">
                  <c:v>244.49</c:v>
                </c:pt>
                <c:pt idx="152">
                  <c:v>240.82</c:v>
                </c:pt>
                <c:pt idx="153">
                  <c:v>240.37</c:v>
                </c:pt>
                <c:pt idx="154">
                  <c:v>243.17</c:v>
                </c:pt>
                <c:pt idx="155">
                  <c:v>247.13</c:v>
                </c:pt>
                <c:pt idx="156">
                  <c:v>252.64</c:v>
                </c:pt>
                <c:pt idx="157">
                  <c:v>256.55</c:v>
                </c:pt>
                <c:pt idx="158">
                  <c:v>259.63</c:v>
                </c:pt>
                <c:pt idx="159">
                  <c:v>265.74</c:v>
                </c:pt>
                <c:pt idx="160">
                  <c:v>273.83999999999997</c:v>
                </c:pt>
                <c:pt idx="161">
                  <c:v>275.83</c:v>
                </c:pt>
                <c:pt idx="162">
                  <c:v>292.67</c:v>
                </c:pt>
                <c:pt idx="163">
                  <c:v>292.83999999999997</c:v>
                </c:pt>
                <c:pt idx="164">
                  <c:v>294.20999999999998</c:v>
                </c:pt>
                <c:pt idx="165">
                  <c:v>301.3</c:v>
                </c:pt>
                <c:pt idx="166">
                  <c:v>305.17</c:v>
                </c:pt>
                <c:pt idx="167">
                  <c:v>311.39</c:v>
                </c:pt>
                <c:pt idx="168">
                  <c:v>315.79000000000002</c:v>
                </c:pt>
                <c:pt idx="169">
                  <c:v>318.83</c:v>
                </c:pt>
                <c:pt idx="170">
                  <c:v>315.64</c:v>
                </c:pt>
                <c:pt idx="171">
                  <c:v>313.56</c:v>
                </c:pt>
                <c:pt idx="172">
                  <c:v>306.75</c:v>
                </c:pt>
                <c:pt idx="173">
                  <c:v>295.98</c:v>
                </c:pt>
                <c:pt idx="174">
                  <c:v>291.98</c:v>
                </c:pt>
                <c:pt idx="175">
                  <c:v>294.63</c:v>
                </c:pt>
                <c:pt idx="176">
                  <c:v>286.77999999999997</c:v>
                </c:pt>
                <c:pt idx="177">
                  <c:v>284.66000000000003</c:v>
                </c:pt>
                <c:pt idx="178">
                  <c:v>283.60000000000002</c:v>
                </c:pt>
                <c:pt idx="179">
                  <c:v>278.54000000000002</c:v>
                </c:pt>
                <c:pt idx="180">
                  <c:v>286.01</c:v>
                </c:pt>
                <c:pt idx="181">
                  <c:v>289.91000000000003</c:v>
                </c:pt>
                <c:pt idx="182">
                  <c:v>294.70999999999998</c:v>
                </c:pt>
                <c:pt idx="183">
                  <c:v>301.66000000000003</c:v>
                </c:pt>
                <c:pt idx="184">
                  <c:v>304.57</c:v>
                </c:pt>
                <c:pt idx="185">
                  <c:v>300.60000000000002</c:v>
                </c:pt>
                <c:pt idx="186">
                  <c:v>306.39</c:v>
                </c:pt>
                <c:pt idx="187">
                  <c:v>304.63</c:v>
                </c:pt>
                <c:pt idx="188">
                  <c:v>298.58999999999997</c:v>
                </c:pt>
                <c:pt idx="189">
                  <c:v>298.97000000000003</c:v>
                </c:pt>
                <c:pt idx="190">
                  <c:v>296.91000000000003</c:v>
                </c:pt>
                <c:pt idx="191">
                  <c:v>296.18</c:v>
                </c:pt>
                <c:pt idx="192">
                  <c:v>301.24</c:v>
                </c:pt>
                <c:pt idx="193">
                  <c:v>304.60000000000002</c:v>
                </c:pt>
                <c:pt idx="194">
                  <c:v>308.83999999999997</c:v>
                </c:pt>
                <c:pt idx="195">
                  <c:v>310.58999999999997</c:v>
                </c:pt>
                <c:pt idx="196">
                  <c:v>310.94</c:v>
                </c:pt>
                <c:pt idx="197">
                  <c:v>310.89999999999998</c:v>
                </c:pt>
                <c:pt idx="198">
                  <c:v>312.33999999999997</c:v>
                </c:pt>
                <c:pt idx="199">
                  <c:v>316.17</c:v>
                </c:pt>
                <c:pt idx="200">
                  <c:v>312.57</c:v>
                </c:pt>
              </c:numCache>
            </c:numRef>
          </c:val>
          <c:smooth val="0"/>
        </c:ser>
        <c:ser>
          <c:idx val="18"/>
          <c:order val="18"/>
          <c:tx>
            <c:strRef>
              <c:f>Sheet1!$T$1</c:f>
              <c:strCache>
                <c:ptCount val="1"/>
                <c:pt idx="0">
                  <c:v>Tønsberg m/Færder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202</c:f>
              <c:numCache>
                <c:formatCode>mmm\-yy</c:formatCode>
                <c:ptCount val="201"/>
                <c:pt idx="0">
                  <c:v>37622</c:v>
                </c:pt>
                <c:pt idx="1">
                  <c:v>37653</c:v>
                </c:pt>
                <c:pt idx="2">
                  <c:v>37681</c:v>
                </c:pt>
                <c:pt idx="3">
                  <c:v>37712</c:v>
                </c:pt>
                <c:pt idx="4">
                  <c:v>37742</c:v>
                </c:pt>
                <c:pt idx="5">
                  <c:v>37773</c:v>
                </c:pt>
                <c:pt idx="6">
                  <c:v>37803</c:v>
                </c:pt>
                <c:pt idx="7">
                  <c:v>37834</c:v>
                </c:pt>
                <c:pt idx="8">
                  <c:v>37865</c:v>
                </c:pt>
                <c:pt idx="9">
                  <c:v>37895</c:v>
                </c:pt>
                <c:pt idx="10">
                  <c:v>37926</c:v>
                </c:pt>
                <c:pt idx="11">
                  <c:v>37956</c:v>
                </c:pt>
                <c:pt idx="12">
                  <c:v>37987</c:v>
                </c:pt>
                <c:pt idx="13">
                  <c:v>38018</c:v>
                </c:pt>
                <c:pt idx="14">
                  <c:v>38047</c:v>
                </c:pt>
                <c:pt idx="15">
                  <c:v>38078</c:v>
                </c:pt>
                <c:pt idx="16">
                  <c:v>38108</c:v>
                </c:pt>
                <c:pt idx="17">
                  <c:v>38139</c:v>
                </c:pt>
                <c:pt idx="18">
                  <c:v>38169</c:v>
                </c:pt>
                <c:pt idx="19">
                  <c:v>38200</c:v>
                </c:pt>
                <c:pt idx="20">
                  <c:v>38231</c:v>
                </c:pt>
                <c:pt idx="21">
                  <c:v>38261</c:v>
                </c:pt>
                <c:pt idx="22">
                  <c:v>38292</c:v>
                </c:pt>
                <c:pt idx="23">
                  <c:v>38322</c:v>
                </c:pt>
                <c:pt idx="24">
                  <c:v>38353</c:v>
                </c:pt>
                <c:pt idx="25">
                  <c:v>38384</c:v>
                </c:pt>
                <c:pt idx="26">
                  <c:v>38412</c:v>
                </c:pt>
                <c:pt idx="27">
                  <c:v>38443</c:v>
                </c:pt>
                <c:pt idx="28">
                  <c:v>38473</c:v>
                </c:pt>
                <c:pt idx="29">
                  <c:v>38504</c:v>
                </c:pt>
                <c:pt idx="30">
                  <c:v>38534</c:v>
                </c:pt>
                <c:pt idx="31">
                  <c:v>38565</c:v>
                </c:pt>
                <c:pt idx="32">
                  <c:v>38596</c:v>
                </c:pt>
                <c:pt idx="33">
                  <c:v>38626</c:v>
                </c:pt>
                <c:pt idx="34">
                  <c:v>38657</c:v>
                </c:pt>
                <c:pt idx="35">
                  <c:v>38687</c:v>
                </c:pt>
                <c:pt idx="36">
                  <c:v>38718</c:v>
                </c:pt>
                <c:pt idx="37">
                  <c:v>38749</c:v>
                </c:pt>
                <c:pt idx="38">
                  <c:v>38777</c:v>
                </c:pt>
                <c:pt idx="39">
                  <c:v>38808</c:v>
                </c:pt>
                <c:pt idx="40">
                  <c:v>38838</c:v>
                </c:pt>
                <c:pt idx="41">
                  <c:v>38869</c:v>
                </c:pt>
                <c:pt idx="42">
                  <c:v>38899</c:v>
                </c:pt>
                <c:pt idx="43">
                  <c:v>38930</c:v>
                </c:pt>
                <c:pt idx="44">
                  <c:v>38961</c:v>
                </c:pt>
                <c:pt idx="45">
                  <c:v>38991</c:v>
                </c:pt>
                <c:pt idx="46">
                  <c:v>39022</c:v>
                </c:pt>
                <c:pt idx="47">
                  <c:v>39052</c:v>
                </c:pt>
                <c:pt idx="48">
                  <c:v>39083</c:v>
                </c:pt>
                <c:pt idx="49">
                  <c:v>39114</c:v>
                </c:pt>
                <c:pt idx="50">
                  <c:v>39142</c:v>
                </c:pt>
                <c:pt idx="51">
                  <c:v>39173</c:v>
                </c:pt>
                <c:pt idx="52">
                  <c:v>39203</c:v>
                </c:pt>
                <c:pt idx="53">
                  <c:v>39234</c:v>
                </c:pt>
                <c:pt idx="54">
                  <c:v>39264</c:v>
                </c:pt>
                <c:pt idx="55">
                  <c:v>39295</c:v>
                </c:pt>
                <c:pt idx="56">
                  <c:v>39326</c:v>
                </c:pt>
                <c:pt idx="57">
                  <c:v>39356</c:v>
                </c:pt>
                <c:pt idx="58">
                  <c:v>39387</c:v>
                </c:pt>
                <c:pt idx="59">
                  <c:v>39417</c:v>
                </c:pt>
                <c:pt idx="60">
                  <c:v>39448</c:v>
                </c:pt>
                <c:pt idx="61">
                  <c:v>39479</c:v>
                </c:pt>
                <c:pt idx="62">
                  <c:v>39508</c:v>
                </c:pt>
                <c:pt idx="63">
                  <c:v>39539</c:v>
                </c:pt>
                <c:pt idx="64">
                  <c:v>39569</c:v>
                </c:pt>
                <c:pt idx="65">
                  <c:v>39600</c:v>
                </c:pt>
                <c:pt idx="66">
                  <c:v>39630</c:v>
                </c:pt>
                <c:pt idx="67">
                  <c:v>39661</c:v>
                </c:pt>
                <c:pt idx="68">
                  <c:v>39692</c:v>
                </c:pt>
                <c:pt idx="69">
                  <c:v>39722</c:v>
                </c:pt>
                <c:pt idx="70">
                  <c:v>39753</c:v>
                </c:pt>
                <c:pt idx="71">
                  <c:v>39783</c:v>
                </c:pt>
                <c:pt idx="72">
                  <c:v>39814</c:v>
                </c:pt>
                <c:pt idx="73">
                  <c:v>39845</c:v>
                </c:pt>
                <c:pt idx="74">
                  <c:v>39873</c:v>
                </c:pt>
                <c:pt idx="75">
                  <c:v>39904</c:v>
                </c:pt>
                <c:pt idx="76">
                  <c:v>39934</c:v>
                </c:pt>
                <c:pt idx="77">
                  <c:v>39965</c:v>
                </c:pt>
                <c:pt idx="78">
                  <c:v>39995</c:v>
                </c:pt>
                <c:pt idx="79">
                  <c:v>40026</c:v>
                </c:pt>
                <c:pt idx="80">
                  <c:v>40057</c:v>
                </c:pt>
                <c:pt idx="81">
                  <c:v>40087</c:v>
                </c:pt>
                <c:pt idx="82">
                  <c:v>40118</c:v>
                </c:pt>
                <c:pt idx="83">
                  <c:v>40148</c:v>
                </c:pt>
                <c:pt idx="84">
                  <c:v>40179</c:v>
                </c:pt>
                <c:pt idx="85">
                  <c:v>40210</c:v>
                </c:pt>
                <c:pt idx="86">
                  <c:v>40238</c:v>
                </c:pt>
                <c:pt idx="87">
                  <c:v>40269</c:v>
                </c:pt>
                <c:pt idx="88">
                  <c:v>40299</c:v>
                </c:pt>
                <c:pt idx="89">
                  <c:v>40330</c:v>
                </c:pt>
                <c:pt idx="90">
                  <c:v>40360</c:v>
                </c:pt>
                <c:pt idx="91">
                  <c:v>40391</c:v>
                </c:pt>
                <c:pt idx="92">
                  <c:v>40422</c:v>
                </c:pt>
                <c:pt idx="93">
                  <c:v>40452</c:v>
                </c:pt>
                <c:pt idx="94">
                  <c:v>40483</c:v>
                </c:pt>
                <c:pt idx="95">
                  <c:v>40513</c:v>
                </c:pt>
                <c:pt idx="96">
                  <c:v>40544</c:v>
                </c:pt>
                <c:pt idx="97">
                  <c:v>40575</c:v>
                </c:pt>
                <c:pt idx="98">
                  <c:v>40603</c:v>
                </c:pt>
                <c:pt idx="99">
                  <c:v>40634</c:v>
                </c:pt>
                <c:pt idx="100">
                  <c:v>40664</c:v>
                </c:pt>
                <c:pt idx="101">
                  <c:v>40695</c:v>
                </c:pt>
                <c:pt idx="102">
                  <c:v>40725</c:v>
                </c:pt>
                <c:pt idx="103">
                  <c:v>40756</c:v>
                </c:pt>
                <c:pt idx="104">
                  <c:v>40787</c:v>
                </c:pt>
                <c:pt idx="105">
                  <c:v>40817</c:v>
                </c:pt>
                <c:pt idx="106">
                  <c:v>40848</c:v>
                </c:pt>
                <c:pt idx="107">
                  <c:v>40878</c:v>
                </c:pt>
                <c:pt idx="108">
                  <c:v>40909</c:v>
                </c:pt>
                <c:pt idx="109">
                  <c:v>40940</c:v>
                </c:pt>
                <c:pt idx="110">
                  <c:v>40969</c:v>
                </c:pt>
                <c:pt idx="111">
                  <c:v>41000</c:v>
                </c:pt>
                <c:pt idx="112">
                  <c:v>41030</c:v>
                </c:pt>
                <c:pt idx="113">
                  <c:v>41061</c:v>
                </c:pt>
                <c:pt idx="114">
                  <c:v>41091</c:v>
                </c:pt>
                <c:pt idx="115">
                  <c:v>41122</c:v>
                </c:pt>
                <c:pt idx="116">
                  <c:v>41153</c:v>
                </c:pt>
                <c:pt idx="117">
                  <c:v>41183</c:v>
                </c:pt>
                <c:pt idx="118">
                  <c:v>41214</c:v>
                </c:pt>
                <c:pt idx="119">
                  <c:v>41244</c:v>
                </c:pt>
                <c:pt idx="120">
                  <c:v>41275</c:v>
                </c:pt>
                <c:pt idx="121">
                  <c:v>41306</c:v>
                </c:pt>
                <c:pt idx="122">
                  <c:v>41334</c:v>
                </c:pt>
                <c:pt idx="123">
                  <c:v>41365</c:v>
                </c:pt>
                <c:pt idx="124">
                  <c:v>41395</c:v>
                </c:pt>
                <c:pt idx="125">
                  <c:v>41426</c:v>
                </c:pt>
                <c:pt idx="126">
                  <c:v>41456</c:v>
                </c:pt>
                <c:pt idx="127">
                  <c:v>41487</c:v>
                </c:pt>
                <c:pt idx="128">
                  <c:v>41518</c:v>
                </c:pt>
                <c:pt idx="129">
                  <c:v>41548</c:v>
                </c:pt>
                <c:pt idx="130">
                  <c:v>41579</c:v>
                </c:pt>
                <c:pt idx="131">
                  <c:v>41609</c:v>
                </c:pt>
                <c:pt idx="132">
                  <c:v>41640</c:v>
                </c:pt>
                <c:pt idx="133">
                  <c:v>41671</c:v>
                </c:pt>
                <c:pt idx="134">
                  <c:v>41699</c:v>
                </c:pt>
                <c:pt idx="135">
                  <c:v>41730</c:v>
                </c:pt>
                <c:pt idx="136">
                  <c:v>41760</c:v>
                </c:pt>
                <c:pt idx="137">
                  <c:v>41791</c:v>
                </c:pt>
                <c:pt idx="138">
                  <c:v>41821</c:v>
                </c:pt>
                <c:pt idx="139">
                  <c:v>41852</c:v>
                </c:pt>
                <c:pt idx="140">
                  <c:v>41883</c:v>
                </c:pt>
                <c:pt idx="141">
                  <c:v>41913</c:v>
                </c:pt>
                <c:pt idx="142">
                  <c:v>41944</c:v>
                </c:pt>
                <c:pt idx="143">
                  <c:v>41974</c:v>
                </c:pt>
                <c:pt idx="144">
                  <c:v>42005</c:v>
                </c:pt>
                <c:pt idx="145">
                  <c:v>42036</c:v>
                </c:pt>
                <c:pt idx="146">
                  <c:v>42064</c:v>
                </c:pt>
                <c:pt idx="147">
                  <c:v>42095</c:v>
                </c:pt>
                <c:pt idx="148">
                  <c:v>42125</c:v>
                </c:pt>
                <c:pt idx="149">
                  <c:v>42156</c:v>
                </c:pt>
                <c:pt idx="150">
                  <c:v>42186</c:v>
                </c:pt>
                <c:pt idx="151">
                  <c:v>42217</c:v>
                </c:pt>
                <c:pt idx="152">
                  <c:v>42248</c:v>
                </c:pt>
                <c:pt idx="153">
                  <c:v>42278</c:v>
                </c:pt>
                <c:pt idx="154">
                  <c:v>42309</c:v>
                </c:pt>
                <c:pt idx="155">
                  <c:v>42339</c:v>
                </c:pt>
                <c:pt idx="156">
                  <c:v>42370</c:v>
                </c:pt>
                <c:pt idx="157">
                  <c:v>42401</c:v>
                </c:pt>
                <c:pt idx="158">
                  <c:v>42430</c:v>
                </c:pt>
                <c:pt idx="159">
                  <c:v>42461</c:v>
                </c:pt>
                <c:pt idx="160">
                  <c:v>42491</c:v>
                </c:pt>
                <c:pt idx="161">
                  <c:v>42522</c:v>
                </c:pt>
                <c:pt idx="162">
                  <c:v>42552</c:v>
                </c:pt>
                <c:pt idx="163">
                  <c:v>42583</c:v>
                </c:pt>
                <c:pt idx="164">
                  <c:v>42614</c:v>
                </c:pt>
                <c:pt idx="165">
                  <c:v>42644</c:v>
                </c:pt>
                <c:pt idx="166">
                  <c:v>42675</c:v>
                </c:pt>
                <c:pt idx="167">
                  <c:v>42705</c:v>
                </c:pt>
                <c:pt idx="168">
                  <c:v>42736</c:v>
                </c:pt>
                <c:pt idx="169">
                  <c:v>42767</c:v>
                </c:pt>
                <c:pt idx="170">
                  <c:v>42795</c:v>
                </c:pt>
                <c:pt idx="171">
                  <c:v>42826</c:v>
                </c:pt>
                <c:pt idx="172">
                  <c:v>42856</c:v>
                </c:pt>
                <c:pt idx="173">
                  <c:v>42887</c:v>
                </c:pt>
                <c:pt idx="174">
                  <c:v>42917</c:v>
                </c:pt>
                <c:pt idx="175">
                  <c:v>42948</c:v>
                </c:pt>
                <c:pt idx="176">
                  <c:v>42979</c:v>
                </c:pt>
                <c:pt idx="177">
                  <c:v>43009</c:v>
                </c:pt>
                <c:pt idx="178">
                  <c:v>43040</c:v>
                </c:pt>
                <c:pt idx="179">
                  <c:v>43070</c:v>
                </c:pt>
                <c:pt idx="180">
                  <c:v>43101</c:v>
                </c:pt>
                <c:pt idx="181">
                  <c:v>43132</c:v>
                </c:pt>
                <c:pt idx="182">
                  <c:v>43160</c:v>
                </c:pt>
                <c:pt idx="183">
                  <c:v>43191</c:v>
                </c:pt>
                <c:pt idx="184">
                  <c:v>43221</c:v>
                </c:pt>
                <c:pt idx="185">
                  <c:v>43252</c:v>
                </c:pt>
                <c:pt idx="186">
                  <c:v>43282</c:v>
                </c:pt>
                <c:pt idx="187">
                  <c:v>43313</c:v>
                </c:pt>
                <c:pt idx="188">
                  <c:v>43344</c:v>
                </c:pt>
                <c:pt idx="189">
                  <c:v>43374</c:v>
                </c:pt>
                <c:pt idx="190">
                  <c:v>43405</c:v>
                </c:pt>
                <c:pt idx="191">
                  <c:v>43435</c:v>
                </c:pt>
                <c:pt idx="192">
                  <c:v>43466</c:v>
                </c:pt>
                <c:pt idx="193">
                  <c:v>43497</c:v>
                </c:pt>
                <c:pt idx="194">
                  <c:v>43525</c:v>
                </c:pt>
                <c:pt idx="195">
                  <c:v>43556</c:v>
                </c:pt>
                <c:pt idx="196">
                  <c:v>43586</c:v>
                </c:pt>
                <c:pt idx="197">
                  <c:v>43617</c:v>
                </c:pt>
                <c:pt idx="198">
                  <c:v>43647</c:v>
                </c:pt>
                <c:pt idx="199">
                  <c:v>43678</c:v>
                </c:pt>
                <c:pt idx="200">
                  <c:v>43709</c:v>
                </c:pt>
              </c:numCache>
            </c:numRef>
          </c:cat>
          <c:val>
            <c:numRef>
              <c:f>Sheet1!$T$2:$T$202</c:f>
              <c:numCache>
                <c:formatCode>#,##0_ ;\-#,##0\ </c:formatCode>
                <c:ptCount val="201"/>
                <c:pt idx="0">
                  <c:v>100</c:v>
                </c:pt>
                <c:pt idx="1">
                  <c:v>100.19</c:v>
                </c:pt>
                <c:pt idx="2">
                  <c:v>101.3</c:v>
                </c:pt>
                <c:pt idx="3">
                  <c:v>100.73</c:v>
                </c:pt>
                <c:pt idx="4">
                  <c:v>99.22</c:v>
                </c:pt>
                <c:pt idx="5">
                  <c:v>99.57</c:v>
                </c:pt>
                <c:pt idx="6">
                  <c:v>97.83</c:v>
                </c:pt>
                <c:pt idx="7">
                  <c:v>99.45</c:v>
                </c:pt>
                <c:pt idx="8">
                  <c:v>98.86</c:v>
                </c:pt>
                <c:pt idx="9">
                  <c:v>98.46</c:v>
                </c:pt>
                <c:pt idx="10">
                  <c:v>99.1</c:v>
                </c:pt>
                <c:pt idx="11">
                  <c:v>99.29</c:v>
                </c:pt>
                <c:pt idx="12">
                  <c:v>101.4</c:v>
                </c:pt>
                <c:pt idx="13">
                  <c:v>102.05</c:v>
                </c:pt>
                <c:pt idx="14">
                  <c:v>104.47</c:v>
                </c:pt>
                <c:pt idx="15">
                  <c:v>106.77</c:v>
                </c:pt>
                <c:pt idx="16">
                  <c:v>106.14</c:v>
                </c:pt>
                <c:pt idx="17">
                  <c:v>106.89</c:v>
                </c:pt>
                <c:pt idx="18">
                  <c:v>105.41</c:v>
                </c:pt>
                <c:pt idx="19">
                  <c:v>108.46</c:v>
                </c:pt>
                <c:pt idx="20">
                  <c:v>107.99</c:v>
                </c:pt>
                <c:pt idx="21">
                  <c:v>107.48</c:v>
                </c:pt>
                <c:pt idx="22">
                  <c:v>107.5</c:v>
                </c:pt>
                <c:pt idx="23">
                  <c:v>108.29</c:v>
                </c:pt>
                <c:pt idx="24">
                  <c:v>109.34</c:v>
                </c:pt>
                <c:pt idx="25">
                  <c:v>111.35</c:v>
                </c:pt>
                <c:pt idx="26">
                  <c:v>112.98</c:v>
                </c:pt>
                <c:pt idx="27">
                  <c:v>113.99</c:v>
                </c:pt>
                <c:pt idx="28">
                  <c:v>115.42</c:v>
                </c:pt>
                <c:pt idx="29">
                  <c:v>113.68</c:v>
                </c:pt>
                <c:pt idx="30">
                  <c:v>112.62</c:v>
                </c:pt>
                <c:pt idx="31">
                  <c:v>116.08</c:v>
                </c:pt>
                <c:pt idx="32">
                  <c:v>113.93</c:v>
                </c:pt>
                <c:pt idx="33">
                  <c:v>114.85</c:v>
                </c:pt>
                <c:pt idx="34">
                  <c:v>114.36</c:v>
                </c:pt>
                <c:pt idx="35">
                  <c:v>113.7</c:v>
                </c:pt>
                <c:pt idx="36">
                  <c:v>115.7</c:v>
                </c:pt>
                <c:pt idx="37">
                  <c:v>116.91</c:v>
                </c:pt>
                <c:pt idx="38">
                  <c:v>119.61</c:v>
                </c:pt>
                <c:pt idx="39">
                  <c:v>120.52</c:v>
                </c:pt>
                <c:pt idx="40">
                  <c:v>122.3</c:v>
                </c:pt>
                <c:pt idx="41">
                  <c:v>123</c:v>
                </c:pt>
                <c:pt idx="42">
                  <c:v>122.11</c:v>
                </c:pt>
                <c:pt idx="43">
                  <c:v>124.66</c:v>
                </c:pt>
                <c:pt idx="44">
                  <c:v>125.34</c:v>
                </c:pt>
                <c:pt idx="45">
                  <c:v>126.08</c:v>
                </c:pt>
                <c:pt idx="46">
                  <c:v>124.09</c:v>
                </c:pt>
                <c:pt idx="47">
                  <c:v>123.86</c:v>
                </c:pt>
                <c:pt idx="48">
                  <c:v>127.94</c:v>
                </c:pt>
                <c:pt idx="49">
                  <c:v>131.08000000000001</c:v>
                </c:pt>
                <c:pt idx="50">
                  <c:v>132.12</c:v>
                </c:pt>
                <c:pt idx="51">
                  <c:v>133.91999999999999</c:v>
                </c:pt>
                <c:pt idx="52">
                  <c:v>135.49</c:v>
                </c:pt>
                <c:pt idx="53">
                  <c:v>134.16999999999999</c:v>
                </c:pt>
                <c:pt idx="54">
                  <c:v>133.66</c:v>
                </c:pt>
                <c:pt idx="55">
                  <c:v>137.4</c:v>
                </c:pt>
                <c:pt idx="56">
                  <c:v>135.55000000000001</c:v>
                </c:pt>
                <c:pt idx="57">
                  <c:v>133.88</c:v>
                </c:pt>
                <c:pt idx="58">
                  <c:v>133.53</c:v>
                </c:pt>
                <c:pt idx="59">
                  <c:v>133.44</c:v>
                </c:pt>
                <c:pt idx="60">
                  <c:v>134.76</c:v>
                </c:pt>
                <c:pt idx="61">
                  <c:v>134.35</c:v>
                </c:pt>
                <c:pt idx="62">
                  <c:v>135.49</c:v>
                </c:pt>
                <c:pt idx="63">
                  <c:v>137.19999999999999</c:v>
                </c:pt>
                <c:pt idx="64">
                  <c:v>138.59</c:v>
                </c:pt>
                <c:pt idx="65">
                  <c:v>135.9</c:v>
                </c:pt>
                <c:pt idx="66">
                  <c:v>133.53</c:v>
                </c:pt>
                <c:pt idx="67">
                  <c:v>136.54</c:v>
                </c:pt>
                <c:pt idx="68">
                  <c:v>133.24</c:v>
                </c:pt>
                <c:pt idx="69">
                  <c:v>128.65</c:v>
                </c:pt>
                <c:pt idx="70">
                  <c:v>125.67</c:v>
                </c:pt>
                <c:pt idx="71">
                  <c:v>124.87</c:v>
                </c:pt>
                <c:pt idx="72">
                  <c:v>127.66</c:v>
                </c:pt>
                <c:pt idx="73">
                  <c:v>130.82</c:v>
                </c:pt>
                <c:pt idx="74">
                  <c:v>132.49</c:v>
                </c:pt>
                <c:pt idx="75">
                  <c:v>134.08000000000001</c:v>
                </c:pt>
                <c:pt idx="76">
                  <c:v>133.99</c:v>
                </c:pt>
                <c:pt idx="77">
                  <c:v>136.63999999999999</c:v>
                </c:pt>
                <c:pt idx="78">
                  <c:v>134.82</c:v>
                </c:pt>
                <c:pt idx="79">
                  <c:v>137.36000000000001</c:v>
                </c:pt>
                <c:pt idx="80">
                  <c:v>137.52000000000001</c:v>
                </c:pt>
                <c:pt idx="81">
                  <c:v>138.07</c:v>
                </c:pt>
                <c:pt idx="82">
                  <c:v>136.38</c:v>
                </c:pt>
                <c:pt idx="83">
                  <c:v>136.01</c:v>
                </c:pt>
                <c:pt idx="84">
                  <c:v>139.49</c:v>
                </c:pt>
                <c:pt idx="85">
                  <c:v>141.49</c:v>
                </c:pt>
                <c:pt idx="86">
                  <c:v>140.71</c:v>
                </c:pt>
                <c:pt idx="87">
                  <c:v>142.54</c:v>
                </c:pt>
                <c:pt idx="88">
                  <c:v>144.08000000000001</c:v>
                </c:pt>
                <c:pt idx="89">
                  <c:v>144.61000000000001</c:v>
                </c:pt>
                <c:pt idx="90">
                  <c:v>141.32</c:v>
                </c:pt>
                <c:pt idx="91">
                  <c:v>144.66999999999999</c:v>
                </c:pt>
                <c:pt idx="92">
                  <c:v>143.03</c:v>
                </c:pt>
                <c:pt idx="93">
                  <c:v>143.69999999999999</c:v>
                </c:pt>
                <c:pt idx="94">
                  <c:v>143.41999999999999</c:v>
                </c:pt>
                <c:pt idx="95">
                  <c:v>141.69999999999999</c:v>
                </c:pt>
                <c:pt idx="96">
                  <c:v>146.1</c:v>
                </c:pt>
                <c:pt idx="97">
                  <c:v>148.13</c:v>
                </c:pt>
                <c:pt idx="98">
                  <c:v>149.91999999999999</c:v>
                </c:pt>
                <c:pt idx="99">
                  <c:v>151.65</c:v>
                </c:pt>
                <c:pt idx="100">
                  <c:v>153.96</c:v>
                </c:pt>
                <c:pt idx="101">
                  <c:v>153.62</c:v>
                </c:pt>
                <c:pt idx="102">
                  <c:v>151.61000000000001</c:v>
                </c:pt>
                <c:pt idx="103">
                  <c:v>153.63999999999999</c:v>
                </c:pt>
                <c:pt idx="104">
                  <c:v>153.84</c:v>
                </c:pt>
                <c:pt idx="105">
                  <c:v>153.80000000000001</c:v>
                </c:pt>
                <c:pt idx="106">
                  <c:v>152.25</c:v>
                </c:pt>
                <c:pt idx="107">
                  <c:v>150.43</c:v>
                </c:pt>
                <c:pt idx="108">
                  <c:v>155.07</c:v>
                </c:pt>
                <c:pt idx="109">
                  <c:v>156.33000000000001</c:v>
                </c:pt>
                <c:pt idx="110">
                  <c:v>157.88999999999999</c:v>
                </c:pt>
                <c:pt idx="111">
                  <c:v>161.31</c:v>
                </c:pt>
                <c:pt idx="112">
                  <c:v>162.13</c:v>
                </c:pt>
                <c:pt idx="113">
                  <c:v>162.43</c:v>
                </c:pt>
                <c:pt idx="114">
                  <c:v>161</c:v>
                </c:pt>
                <c:pt idx="115">
                  <c:v>166.66</c:v>
                </c:pt>
                <c:pt idx="116">
                  <c:v>165.82</c:v>
                </c:pt>
                <c:pt idx="117">
                  <c:v>165.55</c:v>
                </c:pt>
                <c:pt idx="118">
                  <c:v>164.08</c:v>
                </c:pt>
                <c:pt idx="119">
                  <c:v>161.69</c:v>
                </c:pt>
                <c:pt idx="120">
                  <c:v>169.19</c:v>
                </c:pt>
                <c:pt idx="121">
                  <c:v>170.89</c:v>
                </c:pt>
                <c:pt idx="122">
                  <c:v>170.21</c:v>
                </c:pt>
                <c:pt idx="123">
                  <c:v>171.83</c:v>
                </c:pt>
                <c:pt idx="124">
                  <c:v>172.76</c:v>
                </c:pt>
                <c:pt idx="125">
                  <c:v>172.15</c:v>
                </c:pt>
                <c:pt idx="126">
                  <c:v>168.15</c:v>
                </c:pt>
                <c:pt idx="127">
                  <c:v>174.58</c:v>
                </c:pt>
                <c:pt idx="128">
                  <c:v>172.14</c:v>
                </c:pt>
                <c:pt idx="129">
                  <c:v>168.14</c:v>
                </c:pt>
                <c:pt idx="130">
                  <c:v>168.6</c:v>
                </c:pt>
                <c:pt idx="131">
                  <c:v>163.66999999999999</c:v>
                </c:pt>
                <c:pt idx="132">
                  <c:v>170.79</c:v>
                </c:pt>
                <c:pt idx="133">
                  <c:v>171.34</c:v>
                </c:pt>
                <c:pt idx="134">
                  <c:v>174.1</c:v>
                </c:pt>
                <c:pt idx="135">
                  <c:v>174.84</c:v>
                </c:pt>
                <c:pt idx="136">
                  <c:v>175.83</c:v>
                </c:pt>
                <c:pt idx="137">
                  <c:v>174.7</c:v>
                </c:pt>
                <c:pt idx="138">
                  <c:v>174.24</c:v>
                </c:pt>
                <c:pt idx="139">
                  <c:v>177.55</c:v>
                </c:pt>
                <c:pt idx="140">
                  <c:v>177.78</c:v>
                </c:pt>
                <c:pt idx="141">
                  <c:v>178.14</c:v>
                </c:pt>
                <c:pt idx="142">
                  <c:v>177.16</c:v>
                </c:pt>
                <c:pt idx="143">
                  <c:v>175.87</c:v>
                </c:pt>
                <c:pt idx="144">
                  <c:v>180.47</c:v>
                </c:pt>
                <c:pt idx="145">
                  <c:v>183.65</c:v>
                </c:pt>
                <c:pt idx="146">
                  <c:v>185.84</c:v>
                </c:pt>
                <c:pt idx="147">
                  <c:v>190.02</c:v>
                </c:pt>
                <c:pt idx="148">
                  <c:v>188.93</c:v>
                </c:pt>
                <c:pt idx="149">
                  <c:v>191.63</c:v>
                </c:pt>
                <c:pt idx="150">
                  <c:v>183.28</c:v>
                </c:pt>
                <c:pt idx="151">
                  <c:v>192.94</c:v>
                </c:pt>
                <c:pt idx="152">
                  <c:v>191.9</c:v>
                </c:pt>
                <c:pt idx="153">
                  <c:v>188.98</c:v>
                </c:pt>
                <c:pt idx="154">
                  <c:v>188.51</c:v>
                </c:pt>
                <c:pt idx="155">
                  <c:v>185.49</c:v>
                </c:pt>
                <c:pt idx="156">
                  <c:v>193.19</c:v>
                </c:pt>
                <c:pt idx="157">
                  <c:v>192.61</c:v>
                </c:pt>
                <c:pt idx="158">
                  <c:v>195.4</c:v>
                </c:pt>
                <c:pt idx="159">
                  <c:v>198.78</c:v>
                </c:pt>
                <c:pt idx="160">
                  <c:v>201.96</c:v>
                </c:pt>
                <c:pt idx="161">
                  <c:v>200.16</c:v>
                </c:pt>
                <c:pt idx="162">
                  <c:v>197.9</c:v>
                </c:pt>
                <c:pt idx="163">
                  <c:v>205.39</c:v>
                </c:pt>
                <c:pt idx="164">
                  <c:v>204.79</c:v>
                </c:pt>
                <c:pt idx="165">
                  <c:v>205.05</c:v>
                </c:pt>
                <c:pt idx="166">
                  <c:v>200</c:v>
                </c:pt>
                <c:pt idx="167">
                  <c:v>198.81</c:v>
                </c:pt>
                <c:pt idx="168">
                  <c:v>206.48</c:v>
                </c:pt>
                <c:pt idx="169">
                  <c:v>208.89</c:v>
                </c:pt>
                <c:pt idx="170">
                  <c:v>212.59</c:v>
                </c:pt>
                <c:pt idx="171">
                  <c:v>214.25</c:v>
                </c:pt>
                <c:pt idx="172">
                  <c:v>211.65</c:v>
                </c:pt>
                <c:pt idx="173">
                  <c:v>212.52</c:v>
                </c:pt>
                <c:pt idx="174">
                  <c:v>209.39</c:v>
                </c:pt>
                <c:pt idx="175">
                  <c:v>213.57</c:v>
                </c:pt>
                <c:pt idx="176">
                  <c:v>213.39</c:v>
                </c:pt>
                <c:pt idx="177">
                  <c:v>214.22</c:v>
                </c:pt>
                <c:pt idx="178">
                  <c:v>211.16</c:v>
                </c:pt>
                <c:pt idx="179">
                  <c:v>211.92</c:v>
                </c:pt>
                <c:pt idx="180">
                  <c:v>213.75</c:v>
                </c:pt>
                <c:pt idx="181">
                  <c:v>217.01</c:v>
                </c:pt>
                <c:pt idx="182">
                  <c:v>216.37</c:v>
                </c:pt>
                <c:pt idx="183">
                  <c:v>219.05</c:v>
                </c:pt>
                <c:pt idx="184">
                  <c:v>221.97</c:v>
                </c:pt>
                <c:pt idx="185">
                  <c:v>221.24</c:v>
                </c:pt>
                <c:pt idx="186">
                  <c:v>219.35</c:v>
                </c:pt>
                <c:pt idx="187">
                  <c:v>221.74</c:v>
                </c:pt>
                <c:pt idx="188">
                  <c:v>220.15</c:v>
                </c:pt>
                <c:pt idx="189">
                  <c:v>217.02</c:v>
                </c:pt>
                <c:pt idx="190">
                  <c:v>212.29</c:v>
                </c:pt>
                <c:pt idx="191">
                  <c:v>215.16</c:v>
                </c:pt>
                <c:pt idx="192">
                  <c:v>220.55</c:v>
                </c:pt>
                <c:pt idx="193">
                  <c:v>222.45</c:v>
                </c:pt>
                <c:pt idx="194">
                  <c:v>219.98</c:v>
                </c:pt>
                <c:pt idx="195">
                  <c:v>224.32</c:v>
                </c:pt>
                <c:pt idx="196">
                  <c:v>228.21</c:v>
                </c:pt>
                <c:pt idx="197">
                  <c:v>226.68</c:v>
                </c:pt>
                <c:pt idx="198">
                  <c:v>219.67</c:v>
                </c:pt>
                <c:pt idx="199">
                  <c:v>227.17</c:v>
                </c:pt>
                <c:pt idx="200">
                  <c:v>224.59</c:v>
                </c:pt>
              </c:numCache>
            </c:numRef>
          </c:val>
          <c:smooth val="0"/>
        </c:ser>
        <c:ser>
          <c:idx val="23"/>
          <c:order val="23"/>
          <c:tx>
            <c:strRef>
              <c:f>Sheet1!$Y$1</c:f>
              <c:strCache>
                <c:ptCount val="1"/>
                <c:pt idx="0">
                  <c:v>Norge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02</c:f>
              <c:numCache>
                <c:formatCode>mmm\-yy</c:formatCode>
                <c:ptCount val="201"/>
                <c:pt idx="0">
                  <c:v>37622</c:v>
                </c:pt>
                <c:pt idx="1">
                  <c:v>37653</c:v>
                </c:pt>
                <c:pt idx="2">
                  <c:v>37681</c:v>
                </c:pt>
                <c:pt idx="3">
                  <c:v>37712</c:v>
                </c:pt>
                <c:pt idx="4">
                  <c:v>37742</c:v>
                </c:pt>
                <c:pt idx="5">
                  <c:v>37773</c:v>
                </c:pt>
                <c:pt idx="6">
                  <c:v>37803</c:v>
                </c:pt>
                <c:pt idx="7">
                  <c:v>37834</c:v>
                </c:pt>
                <c:pt idx="8">
                  <c:v>37865</c:v>
                </c:pt>
                <c:pt idx="9">
                  <c:v>37895</c:v>
                </c:pt>
                <c:pt idx="10">
                  <c:v>37926</c:v>
                </c:pt>
                <c:pt idx="11">
                  <c:v>37956</c:v>
                </c:pt>
                <c:pt idx="12">
                  <c:v>37987</c:v>
                </c:pt>
                <c:pt idx="13">
                  <c:v>38018</c:v>
                </c:pt>
                <c:pt idx="14">
                  <c:v>38047</c:v>
                </c:pt>
                <c:pt idx="15">
                  <c:v>38078</c:v>
                </c:pt>
                <c:pt idx="16">
                  <c:v>38108</c:v>
                </c:pt>
                <c:pt idx="17">
                  <c:v>38139</c:v>
                </c:pt>
                <c:pt idx="18">
                  <c:v>38169</c:v>
                </c:pt>
                <c:pt idx="19">
                  <c:v>38200</c:v>
                </c:pt>
                <c:pt idx="20">
                  <c:v>38231</c:v>
                </c:pt>
                <c:pt idx="21">
                  <c:v>38261</c:v>
                </c:pt>
                <c:pt idx="22">
                  <c:v>38292</c:v>
                </c:pt>
                <c:pt idx="23">
                  <c:v>38322</c:v>
                </c:pt>
                <c:pt idx="24">
                  <c:v>38353</c:v>
                </c:pt>
                <c:pt idx="25">
                  <c:v>38384</c:v>
                </c:pt>
                <c:pt idx="26">
                  <c:v>38412</c:v>
                </c:pt>
                <c:pt idx="27">
                  <c:v>38443</c:v>
                </c:pt>
                <c:pt idx="28">
                  <c:v>38473</c:v>
                </c:pt>
                <c:pt idx="29">
                  <c:v>38504</c:v>
                </c:pt>
                <c:pt idx="30">
                  <c:v>38534</c:v>
                </c:pt>
                <c:pt idx="31">
                  <c:v>38565</c:v>
                </c:pt>
                <c:pt idx="32">
                  <c:v>38596</c:v>
                </c:pt>
                <c:pt idx="33">
                  <c:v>38626</c:v>
                </c:pt>
                <c:pt idx="34">
                  <c:v>38657</c:v>
                </c:pt>
                <c:pt idx="35">
                  <c:v>38687</c:v>
                </c:pt>
                <c:pt idx="36">
                  <c:v>38718</c:v>
                </c:pt>
                <c:pt idx="37">
                  <c:v>38749</c:v>
                </c:pt>
                <c:pt idx="38">
                  <c:v>38777</c:v>
                </c:pt>
                <c:pt idx="39">
                  <c:v>38808</c:v>
                </c:pt>
                <c:pt idx="40">
                  <c:v>38838</c:v>
                </c:pt>
                <c:pt idx="41">
                  <c:v>38869</c:v>
                </c:pt>
                <c:pt idx="42">
                  <c:v>38899</c:v>
                </c:pt>
                <c:pt idx="43">
                  <c:v>38930</c:v>
                </c:pt>
                <c:pt idx="44">
                  <c:v>38961</c:v>
                </c:pt>
                <c:pt idx="45">
                  <c:v>38991</c:v>
                </c:pt>
                <c:pt idx="46">
                  <c:v>39022</c:v>
                </c:pt>
                <c:pt idx="47">
                  <c:v>39052</c:v>
                </c:pt>
                <c:pt idx="48">
                  <c:v>39083</c:v>
                </c:pt>
                <c:pt idx="49">
                  <c:v>39114</c:v>
                </c:pt>
                <c:pt idx="50">
                  <c:v>39142</c:v>
                </c:pt>
                <c:pt idx="51">
                  <c:v>39173</c:v>
                </c:pt>
                <c:pt idx="52">
                  <c:v>39203</c:v>
                </c:pt>
                <c:pt idx="53">
                  <c:v>39234</c:v>
                </c:pt>
                <c:pt idx="54">
                  <c:v>39264</c:v>
                </c:pt>
                <c:pt idx="55">
                  <c:v>39295</c:v>
                </c:pt>
                <c:pt idx="56">
                  <c:v>39326</c:v>
                </c:pt>
                <c:pt idx="57">
                  <c:v>39356</c:v>
                </c:pt>
                <c:pt idx="58">
                  <c:v>39387</c:v>
                </c:pt>
                <c:pt idx="59">
                  <c:v>39417</c:v>
                </c:pt>
                <c:pt idx="60">
                  <c:v>39448</c:v>
                </c:pt>
                <c:pt idx="61">
                  <c:v>39479</c:v>
                </c:pt>
                <c:pt idx="62">
                  <c:v>39508</c:v>
                </c:pt>
                <c:pt idx="63">
                  <c:v>39539</c:v>
                </c:pt>
                <c:pt idx="64">
                  <c:v>39569</c:v>
                </c:pt>
                <c:pt idx="65">
                  <c:v>39600</c:v>
                </c:pt>
                <c:pt idx="66">
                  <c:v>39630</c:v>
                </c:pt>
                <c:pt idx="67">
                  <c:v>39661</c:v>
                </c:pt>
                <c:pt idx="68">
                  <c:v>39692</c:v>
                </c:pt>
                <c:pt idx="69">
                  <c:v>39722</c:v>
                </c:pt>
                <c:pt idx="70">
                  <c:v>39753</c:v>
                </c:pt>
                <c:pt idx="71">
                  <c:v>39783</c:v>
                </c:pt>
                <c:pt idx="72">
                  <c:v>39814</c:v>
                </c:pt>
                <c:pt idx="73">
                  <c:v>39845</c:v>
                </c:pt>
                <c:pt idx="74">
                  <c:v>39873</c:v>
                </c:pt>
                <c:pt idx="75">
                  <c:v>39904</c:v>
                </c:pt>
                <c:pt idx="76">
                  <c:v>39934</c:v>
                </c:pt>
                <c:pt idx="77">
                  <c:v>39965</c:v>
                </c:pt>
                <c:pt idx="78">
                  <c:v>39995</c:v>
                </c:pt>
                <c:pt idx="79">
                  <c:v>40026</c:v>
                </c:pt>
                <c:pt idx="80">
                  <c:v>40057</c:v>
                </c:pt>
                <c:pt idx="81">
                  <c:v>40087</c:v>
                </c:pt>
                <c:pt idx="82">
                  <c:v>40118</c:v>
                </c:pt>
                <c:pt idx="83">
                  <c:v>40148</c:v>
                </c:pt>
                <c:pt idx="84">
                  <c:v>40179</c:v>
                </c:pt>
                <c:pt idx="85">
                  <c:v>40210</c:v>
                </c:pt>
                <c:pt idx="86">
                  <c:v>40238</c:v>
                </c:pt>
                <c:pt idx="87">
                  <c:v>40269</c:v>
                </c:pt>
                <c:pt idx="88">
                  <c:v>40299</c:v>
                </c:pt>
                <c:pt idx="89">
                  <c:v>40330</c:v>
                </c:pt>
                <c:pt idx="90">
                  <c:v>40360</c:v>
                </c:pt>
                <c:pt idx="91">
                  <c:v>40391</c:v>
                </c:pt>
                <c:pt idx="92">
                  <c:v>40422</c:v>
                </c:pt>
                <c:pt idx="93">
                  <c:v>40452</c:v>
                </c:pt>
                <c:pt idx="94">
                  <c:v>40483</c:v>
                </c:pt>
                <c:pt idx="95">
                  <c:v>40513</c:v>
                </c:pt>
                <c:pt idx="96">
                  <c:v>40544</c:v>
                </c:pt>
                <c:pt idx="97">
                  <c:v>40575</c:v>
                </c:pt>
                <c:pt idx="98">
                  <c:v>40603</c:v>
                </c:pt>
                <c:pt idx="99">
                  <c:v>40634</c:v>
                </c:pt>
                <c:pt idx="100">
                  <c:v>40664</c:v>
                </c:pt>
                <c:pt idx="101">
                  <c:v>40695</c:v>
                </c:pt>
                <c:pt idx="102">
                  <c:v>40725</c:v>
                </c:pt>
                <c:pt idx="103">
                  <c:v>40756</c:v>
                </c:pt>
                <c:pt idx="104">
                  <c:v>40787</c:v>
                </c:pt>
                <c:pt idx="105">
                  <c:v>40817</c:v>
                </c:pt>
                <c:pt idx="106">
                  <c:v>40848</c:v>
                </c:pt>
                <c:pt idx="107">
                  <c:v>40878</c:v>
                </c:pt>
                <c:pt idx="108">
                  <c:v>40909</c:v>
                </c:pt>
                <c:pt idx="109">
                  <c:v>40940</c:v>
                </c:pt>
                <c:pt idx="110">
                  <c:v>40969</c:v>
                </c:pt>
                <c:pt idx="111">
                  <c:v>41000</c:v>
                </c:pt>
                <c:pt idx="112">
                  <c:v>41030</c:v>
                </c:pt>
                <c:pt idx="113">
                  <c:v>41061</c:v>
                </c:pt>
                <c:pt idx="114">
                  <c:v>41091</c:v>
                </c:pt>
                <c:pt idx="115">
                  <c:v>41122</c:v>
                </c:pt>
                <c:pt idx="116">
                  <c:v>41153</c:v>
                </c:pt>
                <c:pt idx="117">
                  <c:v>41183</c:v>
                </c:pt>
                <c:pt idx="118">
                  <c:v>41214</c:v>
                </c:pt>
                <c:pt idx="119">
                  <c:v>41244</c:v>
                </c:pt>
                <c:pt idx="120">
                  <c:v>41275</c:v>
                </c:pt>
                <c:pt idx="121">
                  <c:v>41306</c:v>
                </c:pt>
                <c:pt idx="122">
                  <c:v>41334</c:v>
                </c:pt>
                <c:pt idx="123">
                  <c:v>41365</c:v>
                </c:pt>
                <c:pt idx="124">
                  <c:v>41395</c:v>
                </c:pt>
                <c:pt idx="125">
                  <c:v>41426</c:v>
                </c:pt>
                <c:pt idx="126">
                  <c:v>41456</c:v>
                </c:pt>
                <c:pt idx="127">
                  <c:v>41487</c:v>
                </c:pt>
                <c:pt idx="128">
                  <c:v>41518</c:v>
                </c:pt>
                <c:pt idx="129">
                  <c:v>41548</c:v>
                </c:pt>
                <c:pt idx="130">
                  <c:v>41579</c:v>
                </c:pt>
                <c:pt idx="131">
                  <c:v>41609</c:v>
                </c:pt>
                <c:pt idx="132">
                  <c:v>41640</c:v>
                </c:pt>
                <c:pt idx="133">
                  <c:v>41671</c:v>
                </c:pt>
                <c:pt idx="134">
                  <c:v>41699</c:v>
                </c:pt>
                <c:pt idx="135">
                  <c:v>41730</c:v>
                </c:pt>
                <c:pt idx="136">
                  <c:v>41760</c:v>
                </c:pt>
                <c:pt idx="137">
                  <c:v>41791</c:v>
                </c:pt>
                <c:pt idx="138">
                  <c:v>41821</c:v>
                </c:pt>
                <c:pt idx="139">
                  <c:v>41852</c:v>
                </c:pt>
                <c:pt idx="140">
                  <c:v>41883</c:v>
                </c:pt>
                <c:pt idx="141">
                  <c:v>41913</c:v>
                </c:pt>
                <c:pt idx="142">
                  <c:v>41944</c:v>
                </c:pt>
                <c:pt idx="143">
                  <c:v>41974</c:v>
                </c:pt>
                <c:pt idx="144">
                  <c:v>42005</c:v>
                </c:pt>
                <c:pt idx="145">
                  <c:v>42036</c:v>
                </c:pt>
                <c:pt idx="146">
                  <c:v>42064</c:v>
                </c:pt>
                <c:pt idx="147">
                  <c:v>42095</c:v>
                </c:pt>
                <c:pt idx="148">
                  <c:v>42125</c:v>
                </c:pt>
                <c:pt idx="149">
                  <c:v>42156</c:v>
                </c:pt>
                <c:pt idx="150">
                  <c:v>42186</c:v>
                </c:pt>
                <c:pt idx="151">
                  <c:v>42217</c:v>
                </c:pt>
                <c:pt idx="152">
                  <c:v>42248</c:v>
                </c:pt>
                <c:pt idx="153">
                  <c:v>42278</c:v>
                </c:pt>
                <c:pt idx="154">
                  <c:v>42309</c:v>
                </c:pt>
                <c:pt idx="155">
                  <c:v>42339</c:v>
                </c:pt>
                <c:pt idx="156">
                  <c:v>42370</c:v>
                </c:pt>
                <c:pt idx="157">
                  <c:v>42401</c:v>
                </c:pt>
                <c:pt idx="158">
                  <c:v>42430</c:v>
                </c:pt>
                <c:pt idx="159">
                  <c:v>42461</c:v>
                </c:pt>
                <c:pt idx="160">
                  <c:v>42491</c:v>
                </c:pt>
                <c:pt idx="161">
                  <c:v>42522</c:v>
                </c:pt>
                <c:pt idx="162">
                  <c:v>42552</c:v>
                </c:pt>
                <c:pt idx="163">
                  <c:v>42583</c:v>
                </c:pt>
                <c:pt idx="164">
                  <c:v>42614</c:v>
                </c:pt>
                <c:pt idx="165">
                  <c:v>42644</c:v>
                </c:pt>
                <c:pt idx="166">
                  <c:v>42675</c:v>
                </c:pt>
                <c:pt idx="167">
                  <c:v>42705</c:v>
                </c:pt>
                <c:pt idx="168">
                  <c:v>42736</c:v>
                </c:pt>
                <c:pt idx="169">
                  <c:v>42767</c:v>
                </c:pt>
                <c:pt idx="170">
                  <c:v>42795</c:v>
                </c:pt>
                <c:pt idx="171">
                  <c:v>42826</c:v>
                </c:pt>
                <c:pt idx="172">
                  <c:v>42856</c:v>
                </c:pt>
                <c:pt idx="173">
                  <c:v>42887</c:v>
                </c:pt>
                <c:pt idx="174">
                  <c:v>42917</c:v>
                </c:pt>
                <c:pt idx="175">
                  <c:v>42948</c:v>
                </c:pt>
                <c:pt idx="176">
                  <c:v>42979</c:v>
                </c:pt>
                <c:pt idx="177">
                  <c:v>43009</c:v>
                </c:pt>
                <c:pt idx="178">
                  <c:v>43040</c:v>
                </c:pt>
                <c:pt idx="179">
                  <c:v>43070</c:v>
                </c:pt>
                <c:pt idx="180">
                  <c:v>43101</c:v>
                </c:pt>
                <c:pt idx="181">
                  <c:v>43132</c:v>
                </c:pt>
                <c:pt idx="182">
                  <c:v>43160</c:v>
                </c:pt>
                <c:pt idx="183">
                  <c:v>43191</c:v>
                </c:pt>
                <c:pt idx="184">
                  <c:v>43221</c:v>
                </c:pt>
                <c:pt idx="185">
                  <c:v>43252</c:v>
                </c:pt>
                <c:pt idx="186">
                  <c:v>43282</c:v>
                </c:pt>
                <c:pt idx="187">
                  <c:v>43313</c:v>
                </c:pt>
                <c:pt idx="188">
                  <c:v>43344</c:v>
                </c:pt>
                <c:pt idx="189">
                  <c:v>43374</c:v>
                </c:pt>
                <c:pt idx="190">
                  <c:v>43405</c:v>
                </c:pt>
                <c:pt idx="191">
                  <c:v>43435</c:v>
                </c:pt>
                <c:pt idx="192">
                  <c:v>43466</c:v>
                </c:pt>
                <c:pt idx="193">
                  <c:v>43497</c:v>
                </c:pt>
                <c:pt idx="194">
                  <c:v>43525</c:v>
                </c:pt>
                <c:pt idx="195">
                  <c:v>43556</c:v>
                </c:pt>
                <c:pt idx="196">
                  <c:v>43586</c:v>
                </c:pt>
                <c:pt idx="197">
                  <c:v>43617</c:v>
                </c:pt>
                <c:pt idx="198">
                  <c:v>43647</c:v>
                </c:pt>
                <c:pt idx="199">
                  <c:v>43678</c:v>
                </c:pt>
                <c:pt idx="200">
                  <c:v>43709</c:v>
                </c:pt>
              </c:numCache>
            </c:numRef>
          </c:cat>
          <c:val>
            <c:numRef>
              <c:f>Sheet1!$Y$2:$Y$202</c:f>
              <c:numCache>
                <c:formatCode>#,##0_ ;\-#,##0\ </c:formatCode>
                <c:ptCount val="201"/>
                <c:pt idx="0">
                  <c:v>100</c:v>
                </c:pt>
                <c:pt idx="1">
                  <c:v>100.82</c:v>
                </c:pt>
                <c:pt idx="2">
                  <c:v>101.08</c:v>
                </c:pt>
                <c:pt idx="3">
                  <c:v>100.78</c:v>
                </c:pt>
                <c:pt idx="4">
                  <c:v>99.75</c:v>
                </c:pt>
                <c:pt idx="5">
                  <c:v>99.67</c:v>
                </c:pt>
                <c:pt idx="6">
                  <c:v>100.1</c:v>
                </c:pt>
                <c:pt idx="7">
                  <c:v>102.02</c:v>
                </c:pt>
                <c:pt idx="8">
                  <c:v>103.13</c:v>
                </c:pt>
                <c:pt idx="9">
                  <c:v>103.79</c:v>
                </c:pt>
                <c:pt idx="10">
                  <c:v>104.56</c:v>
                </c:pt>
                <c:pt idx="11">
                  <c:v>104.81</c:v>
                </c:pt>
                <c:pt idx="12">
                  <c:v>108.07</c:v>
                </c:pt>
                <c:pt idx="13">
                  <c:v>110</c:v>
                </c:pt>
                <c:pt idx="14">
                  <c:v>111.08</c:v>
                </c:pt>
                <c:pt idx="15">
                  <c:v>111.82</c:v>
                </c:pt>
                <c:pt idx="16">
                  <c:v>111.86</c:v>
                </c:pt>
                <c:pt idx="17">
                  <c:v>111.85</c:v>
                </c:pt>
                <c:pt idx="18">
                  <c:v>112.6</c:v>
                </c:pt>
                <c:pt idx="19">
                  <c:v>115.08</c:v>
                </c:pt>
                <c:pt idx="20">
                  <c:v>114.68</c:v>
                </c:pt>
                <c:pt idx="21">
                  <c:v>115.03</c:v>
                </c:pt>
                <c:pt idx="22">
                  <c:v>115.47</c:v>
                </c:pt>
                <c:pt idx="23">
                  <c:v>115.72</c:v>
                </c:pt>
                <c:pt idx="24">
                  <c:v>118.69</c:v>
                </c:pt>
                <c:pt idx="25">
                  <c:v>119.83</c:v>
                </c:pt>
                <c:pt idx="26">
                  <c:v>121.23</c:v>
                </c:pt>
                <c:pt idx="27">
                  <c:v>121.49</c:v>
                </c:pt>
                <c:pt idx="28">
                  <c:v>121.99</c:v>
                </c:pt>
                <c:pt idx="29">
                  <c:v>121.24</c:v>
                </c:pt>
                <c:pt idx="30">
                  <c:v>121.92</c:v>
                </c:pt>
                <c:pt idx="31">
                  <c:v>125.32</c:v>
                </c:pt>
                <c:pt idx="32">
                  <c:v>124.92</c:v>
                </c:pt>
                <c:pt idx="33">
                  <c:v>125.85</c:v>
                </c:pt>
                <c:pt idx="34">
                  <c:v>125.62</c:v>
                </c:pt>
                <c:pt idx="35">
                  <c:v>126.05</c:v>
                </c:pt>
                <c:pt idx="36">
                  <c:v>130.16</c:v>
                </c:pt>
                <c:pt idx="37">
                  <c:v>131.9</c:v>
                </c:pt>
                <c:pt idx="38">
                  <c:v>133.99</c:v>
                </c:pt>
                <c:pt idx="39">
                  <c:v>135.56</c:v>
                </c:pt>
                <c:pt idx="40">
                  <c:v>138.09</c:v>
                </c:pt>
                <c:pt idx="41">
                  <c:v>138.91</c:v>
                </c:pt>
                <c:pt idx="42">
                  <c:v>138.87</c:v>
                </c:pt>
                <c:pt idx="43">
                  <c:v>143.63999999999999</c:v>
                </c:pt>
                <c:pt idx="44">
                  <c:v>145.18</c:v>
                </c:pt>
                <c:pt idx="45">
                  <c:v>145.66999999999999</c:v>
                </c:pt>
                <c:pt idx="46">
                  <c:v>145.47</c:v>
                </c:pt>
                <c:pt idx="47">
                  <c:v>146.59</c:v>
                </c:pt>
                <c:pt idx="48">
                  <c:v>152.33000000000001</c:v>
                </c:pt>
                <c:pt idx="49">
                  <c:v>154.69</c:v>
                </c:pt>
                <c:pt idx="50">
                  <c:v>155.72</c:v>
                </c:pt>
                <c:pt idx="51">
                  <c:v>157.21</c:v>
                </c:pt>
                <c:pt idx="52">
                  <c:v>157.72</c:v>
                </c:pt>
                <c:pt idx="53">
                  <c:v>157.13</c:v>
                </c:pt>
                <c:pt idx="54">
                  <c:v>157.41999999999999</c:v>
                </c:pt>
                <c:pt idx="55">
                  <c:v>159.46</c:v>
                </c:pt>
                <c:pt idx="56">
                  <c:v>156.93</c:v>
                </c:pt>
                <c:pt idx="57">
                  <c:v>155.1</c:v>
                </c:pt>
                <c:pt idx="58">
                  <c:v>153.66999999999999</c:v>
                </c:pt>
                <c:pt idx="59">
                  <c:v>152.88</c:v>
                </c:pt>
                <c:pt idx="60">
                  <c:v>155.80000000000001</c:v>
                </c:pt>
                <c:pt idx="61">
                  <c:v>156.69999999999999</c:v>
                </c:pt>
                <c:pt idx="62">
                  <c:v>157.61000000000001</c:v>
                </c:pt>
                <c:pt idx="63">
                  <c:v>158.11000000000001</c:v>
                </c:pt>
                <c:pt idx="64">
                  <c:v>157.52000000000001</c:v>
                </c:pt>
                <c:pt idx="65">
                  <c:v>155.83000000000001</c:v>
                </c:pt>
                <c:pt idx="66">
                  <c:v>153.04</c:v>
                </c:pt>
                <c:pt idx="67">
                  <c:v>155.09</c:v>
                </c:pt>
                <c:pt idx="68">
                  <c:v>152.38</c:v>
                </c:pt>
                <c:pt idx="69">
                  <c:v>146.53</c:v>
                </c:pt>
                <c:pt idx="70">
                  <c:v>142.09</c:v>
                </c:pt>
                <c:pt idx="71">
                  <c:v>140.56</c:v>
                </c:pt>
                <c:pt idx="72">
                  <c:v>145.66</c:v>
                </c:pt>
                <c:pt idx="73">
                  <c:v>149.13</c:v>
                </c:pt>
                <c:pt idx="74">
                  <c:v>150.80000000000001</c:v>
                </c:pt>
                <c:pt idx="75">
                  <c:v>153.21</c:v>
                </c:pt>
                <c:pt idx="76">
                  <c:v>154.53</c:v>
                </c:pt>
                <c:pt idx="77">
                  <c:v>156.04</c:v>
                </c:pt>
                <c:pt idx="78">
                  <c:v>156.58000000000001</c:v>
                </c:pt>
                <c:pt idx="79">
                  <c:v>160.32</c:v>
                </c:pt>
                <c:pt idx="80">
                  <c:v>159.41999999999999</c:v>
                </c:pt>
                <c:pt idx="81">
                  <c:v>159.94999999999999</c:v>
                </c:pt>
                <c:pt idx="82">
                  <c:v>159.37</c:v>
                </c:pt>
                <c:pt idx="83">
                  <c:v>158.88</c:v>
                </c:pt>
                <c:pt idx="84">
                  <c:v>163.07</c:v>
                </c:pt>
                <c:pt idx="85">
                  <c:v>164.77</c:v>
                </c:pt>
                <c:pt idx="86">
                  <c:v>165.66</c:v>
                </c:pt>
                <c:pt idx="87">
                  <c:v>167.65</c:v>
                </c:pt>
                <c:pt idx="88">
                  <c:v>168.37</c:v>
                </c:pt>
                <c:pt idx="89">
                  <c:v>168.23</c:v>
                </c:pt>
                <c:pt idx="90">
                  <c:v>167.12</c:v>
                </c:pt>
                <c:pt idx="91">
                  <c:v>170.57</c:v>
                </c:pt>
                <c:pt idx="92">
                  <c:v>170.32</c:v>
                </c:pt>
                <c:pt idx="93">
                  <c:v>171.05</c:v>
                </c:pt>
                <c:pt idx="94">
                  <c:v>171.51</c:v>
                </c:pt>
                <c:pt idx="95">
                  <c:v>170.15</c:v>
                </c:pt>
                <c:pt idx="96">
                  <c:v>176.26</c:v>
                </c:pt>
                <c:pt idx="97">
                  <c:v>178.73</c:v>
                </c:pt>
                <c:pt idx="98">
                  <c:v>180.98</c:v>
                </c:pt>
                <c:pt idx="99">
                  <c:v>181.94</c:v>
                </c:pt>
                <c:pt idx="100">
                  <c:v>184.13</c:v>
                </c:pt>
                <c:pt idx="101">
                  <c:v>182.72</c:v>
                </c:pt>
                <c:pt idx="102">
                  <c:v>182.35</c:v>
                </c:pt>
                <c:pt idx="103">
                  <c:v>185.59</c:v>
                </c:pt>
                <c:pt idx="104">
                  <c:v>185.7</c:v>
                </c:pt>
                <c:pt idx="105">
                  <c:v>186.05</c:v>
                </c:pt>
                <c:pt idx="106">
                  <c:v>185.68</c:v>
                </c:pt>
                <c:pt idx="107">
                  <c:v>184.22</c:v>
                </c:pt>
                <c:pt idx="108">
                  <c:v>189.42</c:v>
                </c:pt>
                <c:pt idx="109">
                  <c:v>190.7</c:v>
                </c:pt>
                <c:pt idx="110">
                  <c:v>193.5</c:v>
                </c:pt>
                <c:pt idx="111">
                  <c:v>195.31</c:v>
                </c:pt>
                <c:pt idx="112">
                  <c:v>196.29</c:v>
                </c:pt>
                <c:pt idx="113">
                  <c:v>195.14</c:v>
                </c:pt>
                <c:pt idx="114">
                  <c:v>195.91</c:v>
                </c:pt>
                <c:pt idx="115">
                  <c:v>199.97</c:v>
                </c:pt>
                <c:pt idx="116">
                  <c:v>198.81</c:v>
                </c:pt>
                <c:pt idx="117">
                  <c:v>198.62</c:v>
                </c:pt>
                <c:pt idx="118">
                  <c:v>198.61</c:v>
                </c:pt>
                <c:pt idx="119">
                  <c:v>198.29</c:v>
                </c:pt>
                <c:pt idx="120">
                  <c:v>204.69</c:v>
                </c:pt>
                <c:pt idx="121">
                  <c:v>206.43</c:v>
                </c:pt>
                <c:pt idx="122">
                  <c:v>206.1</c:v>
                </c:pt>
                <c:pt idx="123">
                  <c:v>208.59</c:v>
                </c:pt>
                <c:pt idx="124">
                  <c:v>209.11</c:v>
                </c:pt>
                <c:pt idx="125">
                  <c:v>206.89</c:v>
                </c:pt>
                <c:pt idx="126">
                  <c:v>204.73</c:v>
                </c:pt>
                <c:pt idx="127">
                  <c:v>208.39</c:v>
                </c:pt>
                <c:pt idx="128">
                  <c:v>205.42</c:v>
                </c:pt>
                <c:pt idx="129">
                  <c:v>202.07</c:v>
                </c:pt>
                <c:pt idx="130">
                  <c:v>199.31</c:v>
                </c:pt>
                <c:pt idx="131">
                  <c:v>196.9</c:v>
                </c:pt>
                <c:pt idx="132">
                  <c:v>202.64</c:v>
                </c:pt>
                <c:pt idx="133">
                  <c:v>204.17</c:v>
                </c:pt>
                <c:pt idx="134">
                  <c:v>206.74</c:v>
                </c:pt>
                <c:pt idx="135">
                  <c:v>209.15</c:v>
                </c:pt>
                <c:pt idx="136">
                  <c:v>210.24</c:v>
                </c:pt>
                <c:pt idx="137">
                  <c:v>209.27</c:v>
                </c:pt>
                <c:pt idx="138">
                  <c:v>210.24</c:v>
                </c:pt>
                <c:pt idx="139">
                  <c:v>212.8</c:v>
                </c:pt>
                <c:pt idx="140">
                  <c:v>212.64</c:v>
                </c:pt>
                <c:pt idx="141">
                  <c:v>212.51</c:v>
                </c:pt>
                <c:pt idx="142">
                  <c:v>213.22</c:v>
                </c:pt>
                <c:pt idx="143">
                  <c:v>214.03</c:v>
                </c:pt>
                <c:pt idx="144">
                  <c:v>219.44</c:v>
                </c:pt>
                <c:pt idx="145">
                  <c:v>222.25</c:v>
                </c:pt>
                <c:pt idx="146">
                  <c:v>223.68</c:v>
                </c:pt>
                <c:pt idx="147">
                  <c:v>226.55</c:v>
                </c:pt>
                <c:pt idx="148">
                  <c:v>226.35</c:v>
                </c:pt>
                <c:pt idx="149">
                  <c:v>226.85</c:v>
                </c:pt>
                <c:pt idx="150">
                  <c:v>225.46</c:v>
                </c:pt>
                <c:pt idx="151">
                  <c:v>229.76</c:v>
                </c:pt>
                <c:pt idx="152">
                  <c:v>227.68</c:v>
                </c:pt>
                <c:pt idx="153">
                  <c:v>225.11</c:v>
                </c:pt>
                <c:pt idx="154">
                  <c:v>225.91</c:v>
                </c:pt>
                <c:pt idx="155">
                  <c:v>223.89</c:v>
                </c:pt>
                <c:pt idx="156">
                  <c:v>231.2</c:v>
                </c:pt>
                <c:pt idx="157">
                  <c:v>232.4</c:v>
                </c:pt>
                <c:pt idx="158">
                  <c:v>235.85</c:v>
                </c:pt>
                <c:pt idx="159">
                  <c:v>239.47</c:v>
                </c:pt>
                <c:pt idx="160">
                  <c:v>242.71</c:v>
                </c:pt>
                <c:pt idx="161">
                  <c:v>242.91</c:v>
                </c:pt>
                <c:pt idx="162">
                  <c:v>245.08</c:v>
                </c:pt>
                <c:pt idx="163">
                  <c:v>250.38</c:v>
                </c:pt>
                <c:pt idx="164">
                  <c:v>250.32</c:v>
                </c:pt>
                <c:pt idx="165">
                  <c:v>251.77</c:v>
                </c:pt>
                <c:pt idx="166">
                  <c:v>252.15</c:v>
                </c:pt>
                <c:pt idx="167">
                  <c:v>251.83</c:v>
                </c:pt>
                <c:pt idx="168">
                  <c:v>259.58</c:v>
                </c:pt>
                <c:pt idx="169">
                  <c:v>262.81</c:v>
                </c:pt>
                <c:pt idx="170">
                  <c:v>263.87</c:v>
                </c:pt>
                <c:pt idx="171">
                  <c:v>265.13</c:v>
                </c:pt>
                <c:pt idx="172">
                  <c:v>262.58</c:v>
                </c:pt>
                <c:pt idx="173">
                  <c:v>258.91000000000003</c:v>
                </c:pt>
                <c:pt idx="174">
                  <c:v>257.08</c:v>
                </c:pt>
                <c:pt idx="175">
                  <c:v>259.2</c:v>
                </c:pt>
                <c:pt idx="176">
                  <c:v>254.97</c:v>
                </c:pt>
                <c:pt idx="177">
                  <c:v>254.19</c:v>
                </c:pt>
                <c:pt idx="178">
                  <c:v>251.41</c:v>
                </c:pt>
                <c:pt idx="179">
                  <c:v>249</c:v>
                </c:pt>
                <c:pt idx="180">
                  <c:v>253.91</c:v>
                </c:pt>
                <c:pt idx="181">
                  <c:v>256.73</c:v>
                </c:pt>
                <c:pt idx="182">
                  <c:v>258.02</c:v>
                </c:pt>
                <c:pt idx="183">
                  <c:v>262.55</c:v>
                </c:pt>
                <c:pt idx="184">
                  <c:v>265.24</c:v>
                </c:pt>
                <c:pt idx="185">
                  <c:v>262.67</c:v>
                </c:pt>
                <c:pt idx="186">
                  <c:v>262.63</c:v>
                </c:pt>
                <c:pt idx="187">
                  <c:v>264.8</c:v>
                </c:pt>
                <c:pt idx="188">
                  <c:v>261.77999999999997</c:v>
                </c:pt>
                <c:pt idx="189">
                  <c:v>260.33999999999997</c:v>
                </c:pt>
                <c:pt idx="190">
                  <c:v>256.55</c:v>
                </c:pt>
                <c:pt idx="191">
                  <c:v>255.95</c:v>
                </c:pt>
                <c:pt idx="192">
                  <c:v>262.93</c:v>
                </c:pt>
                <c:pt idx="193">
                  <c:v>264.37</c:v>
                </c:pt>
                <c:pt idx="194">
                  <c:v>266.17</c:v>
                </c:pt>
                <c:pt idx="195">
                  <c:v>268.24</c:v>
                </c:pt>
                <c:pt idx="196">
                  <c:v>270.05</c:v>
                </c:pt>
                <c:pt idx="197">
                  <c:v>269.55</c:v>
                </c:pt>
                <c:pt idx="198">
                  <c:v>266.7</c:v>
                </c:pt>
                <c:pt idx="199">
                  <c:v>271.66000000000003</c:v>
                </c:pt>
                <c:pt idx="200">
                  <c:v>268.709999999999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58313008"/>
        <c:axId val="65831967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Asker/Bærum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99.9</c:v>
                      </c:pt>
                      <c:pt idx="2">
                        <c:v>100.27</c:v>
                      </c:pt>
                      <c:pt idx="3">
                        <c:v>100.41</c:v>
                      </c:pt>
                      <c:pt idx="4">
                        <c:v>97.6</c:v>
                      </c:pt>
                      <c:pt idx="5">
                        <c:v>97.31</c:v>
                      </c:pt>
                      <c:pt idx="6">
                        <c:v>97.45</c:v>
                      </c:pt>
                      <c:pt idx="7">
                        <c:v>97.83</c:v>
                      </c:pt>
                      <c:pt idx="8">
                        <c:v>100.22</c:v>
                      </c:pt>
                      <c:pt idx="9">
                        <c:v>100.64</c:v>
                      </c:pt>
                      <c:pt idx="10">
                        <c:v>99.97</c:v>
                      </c:pt>
                      <c:pt idx="11">
                        <c:v>100.2</c:v>
                      </c:pt>
                      <c:pt idx="12">
                        <c:v>103.02</c:v>
                      </c:pt>
                      <c:pt idx="13">
                        <c:v>106.66</c:v>
                      </c:pt>
                      <c:pt idx="14">
                        <c:v>106.78</c:v>
                      </c:pt>
                      <c:pt idx="15">
                        <c:v>108.35</c:v>
                      </c:pt>
                      <c:pt idx="16">
                        <c:v>108.17</c:v>
                      </c:pt>
                      <c:pt idx="17">
                        <c:v>107.27</c:v>
                      </c:pt>
                      <c:pt idx="18">
                        <c:v>107.3</c:v>
                      </c:pt>
                      <c:pt idx="19">
                        <c:v>109.85</c:v>
                      </c:pt>
                      <c:pt idx="20">
                        <c:v>109.61</c:v>
                      </c:pt>
                      <c:pt idx="21">
                        <c:v>110.55</c:v>
                      </c:pt>
                      <c:pt idx="22">
                        <c:v>111.27</c:v>
                      </c:pt>
                      <c:pt idx="23">
                        <c:v>111.19</c:v>
                      </c:pt>
                      <c:pt idx="24">
                        <c:v>114.43</c:v>
                      </c:pt>
                      <c:pt idx="25">
                        <c:v>116.3</c:v>
                      </c:pt>
                      <c:pt idx="26">
                        <c:v>116.64</c:v>
                      </c:pt>
                      <c:pt idx="27">
                        <c:v>116.76</c:v>
                      </c:pt>
                      <c:pt idx="28">
                        <c:v>118.21</c:v>
                      </c:pt>
                      <c:pt idx="29">
                        <c:v>118.66</c:v>
                      </c:pt>
                      <c:pt idx="30">
                        <c:v>117.84</c:v>
                      </c:pt>
                      <c:pt idx="31">
                        <c:v>121.04</c:v>
                      </c:pt>
                      <c:pt idx="32">
                        <c:v>121.67</c:v>
                      </c:pt>
                      <c:pt idx="33">
                        <c:v>121.58</c:v>
                      </c:pt>
                      <c:pt idx="34">
                        <c:v>120.84</c:v>
                      </c:pt>
                      <c:pt idx="35">
                        <c:v>119.19</c:v>
                      </c:pt>
                      <c:pt idx="36">
                        <c:v>126.51</c:v>
                      </c:pt>
                      <c:pt idx="37">
                        <c:v>125.84</c:v>
                      </c:pt>
                      <c:pt idx="38">
                        <c:v>128.59</c:v>
                      </c:pt>
                      <c:pt idx="39">
                        <c:v>130.38999999999999</c:v>
                      </c:pt>
                      <c:pt idx="40">
                        <c:v>133.76</c:v>
                      </c:pt>
                      <c:pt idx="41">
                        <c:v>133.88</c:v>
                      </c:pt>
                      <c:pt idx="42">
                        <c:v>132.53</c:v>
                      </c:pt>
                      <c:pt idx="43">
                        <c:v>136.55000000000001</c:v>
                      </c:pt>
                      <c:pt idx="44">
                        <c:v>139.84</c:v>
                      </c:pt>
                      <c:pt idx="45">
                        <c:v>140.80000000000001</c:v>
                      </c:pt>
                      <c:pt idx="46">
                        <c:v>138.58000000000001</c:v>
                      </c:pt>
                      <c:pt idx="47">
                        <c:v>141</c:v>
                      </c:pt>
                      <c:pt idx="48">
                        <c:v>146.97999999999999</c:v>
                      </c:pt>
                      <c:pt idx="49">
                        <c:v>151.27000000000001</c:v>
                      </c:pt>
                      <c:pt idx="50">
                        <c:v>151.94</c:v>
                      </c:pt>
                      <c:pt idx="51">
                        <c:v>154.97999999999999</c:v>
                      </c:pt>
                      <c:pt idx="52">
                        <c:v>155.07</c:v>
                      </c:pt>
                      <c:pt idx="53">
                        <c:v>155.16999999999999</c:v>
                      </c:pt>
                      <c:pt idx="54">
                        <c:v>155.66</c:v>
                      </c:pt>
                      <c:pt idx="55">
                        <c:v>156.87</c:v>
                      </c:pt>
                      <c:pt idx="56">
                        <c:v>154.85</c:v>
                      </c:pt>
                      <c:pt idx="57">
                        <c:v>152.65</c:v>
                      </c:pt>
                      <c:pt idx="58">
                        <c:v>149.22999999999999</c:v>
                      </c:pt>
                      <c:pt idx="59">
                        <c:v>148.35</c:v>
                      </c:pt>
                      <c:pt idx="60">
                        <c:v>152.49</c:v>
                      </c:pt>
                      <c:pt idx="61">
                        <c:v>152.53</c:v>
                      </c:pt>
                      <c:pt idx="62">
                        <c:v>152.9</c:v>
                      </c:pt>
                      <c:pt idx="63">
                        <c:v>152.93</c:v>
                      </c:pt>
                      <c:pt idx="64">
                        <c:v>151.36000000000001</c:v>
                      </c:pt>
                      <c:pt idx="65">
                        <c:v>149.58000000000001</c:v>
                      </c:pt>
                      <c:pt idx="66">
                        <c:v>146.97999999999999</c:v>
                      </c:pt>
                      <c:pt idx="67">
                        <c:v>147.5</c:v>
                      </c:pt>
                      <c:pt idx="68">
                        <c:v>145.16999999999999</c:v>
                      </c:pt>
                      <c:pt idx="69">
                        <c:v>138.37</c:v>
                      </c:pt>
                      <c:pt idx="70">
                        <c:v>133.63999999999999</c:v>
                      </c:pt>
                      <c:pt idx="71">
                        <c:v>133.21</c:v>
                      </c:pt>
                      <c:pt idx="72">
                        <c:v>137.29</c:v>
                      </c:pt>
                      <c:pt idx="73">
                        <c:v>140.29</c:v>
                      </c:pt>
                      <c:pt idx="74">
                        <c:v>141.43</c:v>
                      </c:pt>
                      <c:pt idx="75">
                        <c:v>144.91</c:v>
                      </c:pt>
                      <c:pt idx="76">
                        <c:v>144.76</c:v>
                      </c:pt>
                      <c:pt idx="77">
                        <c:v>146.94</c:v>
                      </c:pt>
                      <c:pt idx="78">
                        <c:v>147.35</c:v>
                      </c:pt>
                      <c:pt idx="79">
                        <c:v>151.22999999999999</c:v>
                      </c:pt>
                      <c:pt idx="80">
                        <c:v>151.55000000000001</c:v>
                      </c:pt>
                      <c:pt idx="81">
                        <c:v>150.80000000000001</c:v>
                      </c:pt>
                      <c:pt idx="82">
                        <c:v>152.08000000000001</c:v>
                      </c:pt>
                      <c:pt idx="83">
                        <c:v>149.66</c:v>
                      </c:pt>
                      <c:pt idx="84">
                        <c:v>153.71</c:v>
                      </c:pt>
                      <c:pt idx="85">
                        <c:v>154.96</c:v>
                      </c:pt>
                      <c:pt idx="86">
                        <c:v>155.88</c:v>
                      </c:pt>
                      <c:pt idx="87">
                        <c:v>159.06</c:v>
                      </c:pt>
                      <c:pt idx="88">
                        <c:v>158.94</c:v>
                      </c:pt>
                      <c:pt idx="89">
                        <c:v>159.34</c:v>
                      </c:pt>
                      <c:pt idx="90">
                        <c:v>158.6</c:v>
                      </c:pt>
                      <c:pt idx="91">
                        <c:v>162.47</c:v>
                      </c:pt>
                      <c:pt idx="92">
                        <c:v>161.82</c:v>
                      </c:pt>
                      <c:pt idx="93">
                        <c:v>161.96</c:v>
                      </c:pt>
                      <c:pt idx="94">
                        <c:v>163.97</c:v>
                      </c:pt>
                      <c:pt idx="95">
                        <c:v>163.98</c:v>
                      </c:pt>
                      <c:pt idx="96">
                        <c:v>169.25</c:v>
                      </c:pt>
                      <c:pt idx="97">
                        <c:v>171.64</c:v>
                      </c:pt>
                      <c:pt idx="98">
                        <c:v>175.53</c:v>
                      </c:pt>
                      <c:pt idx="99">
                        <c:v>174.17</c:v>
                      </c:pt>
                      <c:pt idx="100">
                        <c:v>177.65</c:v>
                      </c:pt>
                      <c:pt idx="101">
                        <c:v>177.49</c:v>
                      </c:pt>
                      <c:pt idx="102">
                        <c:v>176.79</c:v>
                      </c:pt>
                      <c:pt idx="103">
                        <c:v>180.02</c:v>
                      </c:pt>
                      <c:pt idx="104">
                        <c:v>180.8</c:v>
                      </c:pt>
                      <c:pt idx="105">
                        <c:v>180.17</c:v>
                      </c:pt>
                      <c:pt idx="106">
                        <c:v>178.89</c:v>
                      </c:pt>
                      <c:pt idx="107">
                        <c:v>180.23</c:v>
                      </c:pt>
                      <c:pt idx="108">
                        <c:v>183.09</c:v>
                      </c:pt>
                      <c:pt idx="109">
                        <c:v>182.9</c:v>
                      </c:pt>
                      <c:pt idx="110">
                        <c:v>187.08</c:v>
                      </c:pt>
                      <c:pt idx="111">
                        <c:v>188.14</c:v>
                      </c:pt>
                      <c:pt idx="112">
                        <c:v>188.7</c:v>
                      </c:pt>
                      <c:pt idx="113">
                        <c:v>186.12</c:v>
                      </c:pt>
                      <c:pt idx="114">
                        <c:v>184.25</c:v>
                      </c:pt>
                      <c:pt idx="115">
                        <c:v>194.19</c:v>
                      </c:pt>
                      <c:pt idx="116">
                        <c:v>191.31</c:v>
                      </c:pt>
                      <c:pt idx="117">
                        <c:v>189.87</c:v>
                      </c:pt>
                      <c:pt idx="118">
                        <c:v>188.84</c:v>
                      </c:pt>
                      <c:pt idx="119">
                        <c:v>189.35</c:v>
                      </c:pt>
                      <c:pt idx="120">
                        <c:v>196.45</c:v>
                      </c:pt>
                      <c:pt idx="121">
                        <c:v>196.9</c:v>
                      </c:pt>
                      <c:pt idx="122">
                        <c:v>196.81</c:v>
                      </c:pt>
                      <c:pt idx="123">
                        <c:v>199.82</c:v>
                      </c:pt>
                      <c:pt idx="124">
                        <c:v>199.32</c:v>
                      </c:pt>
                      <c:pt idx="125">
                        <c:v>197.93</c:v>
                      </c:pt>
                      <c:pt idx="126">
                        <c:v>195.69</c:v>
                      </c:pt>
                      <c:pt idx="127">
                        <c:v>197.98</c:v>
                      </c:pt>
                      <c:pt idx="128">
                        <c:v>197.89</c:v>
                      </c:pt>
                      <c:pt idx="129">
                        <c:v>193.02</c:v>
                      </c:pt>
                      <c:pt idx="130">
                        <c:v>188.86</c:v>
                      </c:pt>
                      <c:pt idx="131">
                        <c:v>190</c:v>
                      </c:pt>
                      <c:pt idx="132">
                        <c:v>192.54</c:v>
                      </c:pt>
                      <c:pt idx="133">
                        <c:v>195.66</c:v>
                      </c:pt>
                      <c:pt idx="134">
                        <c:v>196.7</c:v>
                      </c:pt>
                      <c:pt idx="135">
                        <c:v>199.49</c:v>
                      </c:pt>
                      <c:pt idx="136">
                        <c:v>197.49</c:v>
                      </c:pt>
                      <c:pt idx="137">
                        <c:v>196.92</c:v>
                      </c:pt>
                      <c:pt idx="138">
                        <c:v>197.5</c:v>
                      </c:pt>
                      <c:pt idx="139">
                        <c:v>201.12</c:v>
                      </c:pt>
                      <c:pt idx="140">
                        <c:v>202.77</c:v>
                      </c:pt>
                      <c:pt idx="141">
                        <c:v>201.95</c:v>
                      </c:pt>
                      <c:pt idx="142">
                        <c:v>202.63</c:v>
                      </c:pt>
                      <c:pt idx="143">
                        <c:v>203.41</c:v>
                      </c:pt>
                      <c:pt idx="144">
                        <c:v>208.96</c:v>
                      </c:pt>
                      <c:pt idx="145">
                        <c:v>208.71</c:v>
                      </c:pt>
                      <c:pt idx="146">
                        <c:v>213.6</c:v>
                      </c:pt>
                      <c:pt idx="147">
                        <c:v>215.44</c:v>
                      </c:pt>
                      <c:pt idx="148">
                        <c:v>216.42</c:v>
                      </c:pt>
                      <c:pt idx="149">
                        <c:v>212.5</c:v>
                      </c:pt>
                      <c:pt idx="150">
                        <c:v>211.55</c:v>
                      </c:pt>
                      <c:pt idx="151">
                        <c:v>218.17</c:v>
                      </c:pt>
                      <c:pt idx="152">
                        <c:v>216.42</c:v>
                      </c:pt>
                      <c:pt idx="153">
                        <c:v>216.92</c:v>
                      </c:pt>
                      <c:pt idx="154">
                        <c:v>219.88</c:v>
                      </c:pt>
                      <c:pt idx="155">
                        <c:v>214.56</c:v>
                      </c:pt>
                      <c:pt idx="156">
                        <c:v>222.5</c:v>
                      </c:pt>
                      <c:pt idx="157">
                        <c:v>228.54</c:v>
                      </c:pt>
                      <c:pt idx="158">
                        <c:v>228.47</c:v>
                      </c:pt>
                      <c:pt idx="159">
                        <c:v>231.56</c:v>
                      </c:pt>
                      <c:pt idx="160">
                        <c:v>236.35</c:v>
                      </c:pt>
                      <c:pt idx="161">
                        <c:v>236.63</c:v>
                      </c:pt>
                      <c:pt idx="162">
                        <c:v>234.89</c:v>
                      </c:pt>
                      <c:pt idx="163">
                        <c:v>247.23</c:v>
                      </c:pt>
                      <c:pt idx="164">
                        <c:v>249.01</c:v>
                      </c:pt>
                      <c:pt idx="165">
                        <c:v>249.79</c:v>
                      </c:pt>
                      <c:pt idx="166">
                        <c:v>254.43</c:v>
                      </c:pt>
                      <c:pt idx="167">
                        <c:v>257.14</c:v>
                      </c:pt>
                      <c:pt idx="168">
                        <c:v>265.20999999999998</c:v>
                      </c:pt>
                      <c:pt idx="169">
                        <c:v>267.14999999999998</c:v>
                      </c:pt>
                      <c:pt idx="170">
                        <c:v>270.95</c:v>
                      </c:pt>
                      <c:pt idx="171">
                        <c:v>273.79000000000002</c:v>
                      </c:pt>
                      <c:pt idx="172">
                        <c:v>270.18</c:v>
                      </c:pt>
                      <c:pt idx="173">
                        <c:v>266.98</c:v>
                      </c:pt>
                      <c:pt idx="174">
                        <c:v>260.8</c:v>
                      </c:pt>
                      <c:pt idx="175">
                        <c:v>267.82</c:v>
                      </c:pt>
                      <c:pt idx="176">
                        <c:v>262.04000000000002</c:v>
                      </c:pt>
                      <c:pt idx="177">
                        <c:v>261.06</c:v>
                      </c:pt>
                      <c:pt idx="178">
                        <c:v>258.95</c:v>
                      </c:pt>
                      <c:pt idx="179">
                        <c:v>258.18</c:v>
                      </c:pt>
                      <c:pt idx="180">
                        <c:v>261.42</c:v>
                      </c:pt>
                      <c:pt idx="181">
                        <c:v>264.33</c:v>
                      </c:pt>
                      <c:pt idx="182">
                        <c:v>265.22000000000003</c:v>
                      </c:pt>
                      <c:pt idx="183">
                        <c:v>268.24</c:v>
                      </c:pt>
                      <c:pt idx="184">
                        <c:v>273.08</c:v>
                      </c:pt>
                      <c:pt idx="185">
                        <c:v>269.67</c:v>
                      </c:pt>
                      <c:pt idx="186">
                        <c:v>270.51</c:v>
                      </c:pt>
                      <c:pt idx="187">
                        <c:v>273.36</c:v>
                      </c:pt>
                      <c:pt idx="188">
                        <c:v>272.44</c:v>
                      </c:pt>
                      <c:pt idx="189">
                        <c:v>270.23</c:v>
                      </c:pt>
                      <c:pt idx="190">
                        <c:v>268.77999999999997</c:v>
                      </c:pt>
                      <c:pt idx="191">
                        <c:v>271.14</c:v>
                      </c:pt>
                      <c:pt idx="192">
                        <c:v>274.39</c:v>
                      </c:pt>
                      <c:pt idx="193">
                        <c:v>276.95999999999998</c:v>
                      </c:pt>
                      <c:pt idx="194">
                        <c:v>281.32</c:v>
                      </c:pt>
                      <c:pt idx="195">
                        <c:v>281.45</c:v>
                      </c:pt>
                      <c:pt idx="196">
                        <c:v>281.37</c:v>
                      </c:pt>
                      <c:pt idx="197">
                        <c:v>280.43</c:v>
                      </c:pt>
                      <c:pt idx="198">
                        <c:v>279.16000000000003</c:v>
                      </c:pt>
                      <c:pt idx="199">
                        <c:v>283.89999999999998</c:v>
                      </c:pt>
                      <c:pt idx="200">
                        <c:v>284.31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Follo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2:$D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99.91</c:v>
                      </c:pt>
                      <c:pt idx="2">
                        <c:v>100.66</c:v>
                      </c:pt>
                      <c:pt idx="3">
                        <c:v>101.29</c:v>
                      </c:pt>
                      <c:pt idx="4">
                        <c:v>99.08</c:v>
                      </c:pt>
                      <c:pt idx="5">
                        <c:v>98.7</c:v>
                      </c:pt>
                      <c:pt idx="6">
                        <c:v>99.04</c:v>
                      </c:pt>
                      <c:pt idx="7">
                        <c:v>99.53</c:v>
                      </c:pt>
                      <c:pt idx="8">
                        <c:v>102.16</c:v>
                      </c:pt>
                      <c:pt idx="9">
                        <c:v>102.58</c:v>
                      </c:pt>
                      <c:pt idx="10">
                        <c:v>101.96</c:v>
                      </c:pt>
                      <c:pt idx="11">
                        <c:v>102.25</c:v>
                      </c:pt>
                      <c:pt idx="12">
                        <c:v>105.15</c:v>
                      </c:pt>
                      <c:pt idx="13">
                        <c:v>109.09</c:v>
                      </c:pt>
                      <c:pt idx="14">
                        <c:v>108.92</c:v>
                      </c:pt>
                      <c:pt idx="15">
                        <c:v>110.69</c:v>
                      </c:pt>
                      <c:pt idx="16">
                        <c:v>110.32</c:v>
                      </c:pt>
                      <c:pt idx="17">
                        <c:v>109.51</c:v>
                      </c:pt>
                      <c:pt idx="18">
                        <c:v>109.45</c:v>
                      </c:pt>
                      <c:pt idx="19">
                        <c:v>111.87</c:v>
                      </c:pt>
                      <c:pt idx="20">
                        <c:v>111.25</c:v>
                      </c:pt>
                      <c:pt idx="21">
                        <c:v>111.62</c:v>
                      </c:pt>
                      <c:pt idx="22">
                        <c:v>111.95</c:v>
                      </c:pt>
                      <c:pt idx="23">
                        <c:v>111.71</c:v>
                      </c:pt>
                      <c:pt idx="24">
                        <c:v>114.51</c:v>
                      </c:pt>
                      <c:pt idx="25">
                        <c:v>116.38</c:v>
                      </c:pt>
                      <c:pt idx="26">
                        <c:v>116.64</c:v>
                      </c:pt>
                      <c:pt idx="27">
                        <c:v>116.37</c:v>
                      </c:pt>
                      <c:pt idx="28">
                        <c:v>118.1</c:v>
                      </c:pt>
                      <c:pt idx="29">
                        <c:v>118.32</c:v>
                      </c:pt>
                      <c:pt idx="30">
                        <c:v>117.49</c:v>
                      </c:pt>
                      <c:pt idx="31">
                        <c:v>120.61</c:v>
                      </c:pt>
                      <c:pt idx="32">
                        <c:v>121.38</c:v>
                      </c:pt>
                      <c:pt idx="33">
                        <c:v>121.21</c:v>
                      </c:pt>
                      <c:pt idx="34">
                        <c:v>120.42</c:v>
                      </c:pt>
                      <c:pt idx="35">
                        <c:v>118.83</c:v>
                      </c:pt>
                      <c:pt idx="36">
                        <c:v>126.37</c:v>
                      </c:pt>
                      <c:pt idx="37">
                        <c:v>125.31</c:v>
                      </c:pt>
                      <c:pt idx="38">
                        <c:v>127.29</c:v>
                      </c:pt>
                      <c:pt idx="39">
                        <c:v>129.13999999999999</c:v>
                      </c:pt>
                      <c:pt idx="40">
                        <c:v>132.62</c:v>
                      </c:pt>
                      <c:pt idx="41">
                        <c:v>133.4</c:v>
                      </c:pt>
                      <c:pt idx="42">
                        <c:v>132.05000000000001</c:v>
                      </c:pt>
                      <c:pt idx="43">
                        <c:v>135.86000000000001</c:v>
                      </c:pt>
                      <c:pt idx="44">
                        <c:v>138.81</c:v>
                      </c:pt>
                      <c:pt idx="45">
                        <c:v>139.97</c:v>
                      </c:pt>
                      <c:pt idx="46">
                        <c:v>137.69</c:v>
                      </c:pt>
                      <c:pt idx="47">
                        <c:v>140.19</c:v>
                      </c:pt>
                      <c:pt idx="48">
                        <c:v>146.19999999999999</c:v>
                      </c:pt>
                      <c:pt idx="49">
                        <c:v>150.87</c:v>
                      </c:pt>
                      <c:pt idx="50">
                        <c:v>152.21</c:v>
                      </c:pt>
                      <c:pt idx="51">
                        <c:v>155.15</c:v>
                      </c:pt>
                      <c:pt idx="52">
                        <c:v>154.96</c:v>
                      </c:pt>
                      <c:pt idx="53">
                        <c:v>154.13</c:v>
                      </c:pt>
                      <c:pt idx="54">
                        <c:v>154.61000000000001</c:v>
                      </c:pt>
                      <c:pt idx="55">
                        <c:v>156.13</c:v>
                      </c:pt>
                      <c:pt idx="56">
                        <c:v>154.31</c:v>
                      </c:pt>
                      <c:pt idx="57">
                        <c:v>152.26</c:v>
                      </c:pt>
                      <c:pt idx="58">
                        <c:v>149.26</c:v>
                      </c:pt>
                      <c:pt idx="59">
                        <c:v>148.63999999999999</c:v>
                      </c:pt>
                      <c:pt idx="60">
                        <c:v>153.19999999999999</c:v>
                      </c:pt>
                      <c:pt idx="61">
                        <c:v>153.24</c:v>
                      </c:pt>
                      <c:pt idx="62">
                        <c:v>153.84</c:v>
                      </c:pt>
                      <c:pt idx="63">
                        <c:v>154.68</c:v>
                      </c:pt>
                      <c:pt idx="64">
                        <c:v>154.06</c:v>
                      </c:pt>
                      <c:pt idx="65">
                        <c:v>153.22999999999999</c:v>
                      </c:pt>
                      <c:pt idx="66">
                        <c:v>151.06</c:v>
                      </c:pt>
                      <c:pt idx="67">
                        <c:v>151.85</c:v>
                      </c:pt>
                      <c:pt idx="68">
                        <c:v>149.44999999999999</c:v>
                      </c:pt>
                      <c:pt idx="69">
                        <c:v>142.38</c:v>
                      </c:pt>
                      <c:pt idx="70">
                        <c:v>137.24</c:v>
                      </c:pt>
                      <c:pt idx="71">
                        <c:v>136.71</c:v>
                      </c:pt>
                      <c:pt idx="72">
                        <c:v>140.83000000000001</c:v>
                      </c:pt>
                      <c:pt idx="73">
                        <c:v>144.1</c:v>
                      </c:pt>
                      <c:pt idx="74">
                        <c:v>145.49</c:v>
                      </c:pt>
                      <c:pt idx="75">
                        <c:v>148.80000000000001</c:v>
                      </c:pt>
                      <c:pt idx="76">
                        <c:v>148.36000000000001</c:v>
                      </c:pt>
                      <c:pt idx="77">
                        <c:v>149.94999999999999</c:v>
                      </c:pt>
                      <c:pt idx="78">
                        <c:v>150.5</c:v>
                      </c:pt>
                      <c:pt idx="79">
                        <c:v>154.01</c:v>
                      </c:pt>
                      <c:pt idx="80">
                        <c:v>155.09</c:v>
                      </c:pt>
                      <c:pt idx="81">
                        <c:v>154.19</c:v>
                      </c:pt>
                      <c:pt idx="82">
                        <c:v>155.47999999999999</c:v>
                      </c:pt>
                      <c:pt idx="83">
                        <c:v>153.44</c:v>
                      </c:pt>
                      <c:pt idx="84">
                        <c:v>157.25</c:v>
                      </c:pt>
                      <c:pt idx="85">
                        <c:v>158.80000000000001</c:v>
                      </c:pt>
                      <c:pt idx="86">
                        <c:v>159.55000000000001</c:v>
                      </c:pt>
                      <c:pt idx="87">
                        <c:v>163.09</c:v>
                      </c:pt>
                      <c:pt idx="88">
                        <c:v>162.97</c:v>
                      </c:pt>
                      <c:pt idx="89">
                        <c:v>163.07</c:v>
                      </c:pt>
                      <c:pt idx="90">
                        <c:v>162.41999999999999</c:v>
                      </c:pt>
                      <c:pt idx="91">
                        <c:v>166.12</c:v>
                      </c:pt>
                      <c:pt idx="92">
                        <c:v>164.87</c:v>
                      </c:pt>
                      <c:pt idx="93">
                        <c:v>164.54</c:v>
                      </c:pt>
                      <c:pt idx="94">
                        <c:v>165.75</c:v>
                      </c:pt>
                      <c:pt idx="95">
                        <c:v>164.9</c:v>
                      </c:pt>
                      <c:pt idx="96">
                        <c:v>169.84</c:v>
                      </c:pt>
                      <c:pt idx="97">
                        <c:v>171.35</c:v>
                      </c:pt>
                      <c:pt idx="98">
                        <c:v>174.68</c:v>
                      </c:pt>
                      <c:pt idx="99">
                        <c:v>172.58</c:v>
                      </c:pt>
                      <c:pt idx="100">
                        <c:v>175.77</c:v>
                      </c:pt>
                      <c:pt idx="101">
                        <c:v>175.22</c:v>
                      </c:pt>
                      <c:pt idx="102">
                        <c:v>174.48</c:v>
                      </c:pt>
                      <c:pt idx="103">
                        <c:v>177.98</c:v>
                      </c:pt>
                      <c:pt idx="104">
                        <c:v>178.21</c:v>
                      </c:pt>
                      <c:pt idx="105">
                        <c:v>177.69</c:v>
                      </c:pt>
                      <c:pt idx="106">
                        <c:v>176.44</c:v>
                      </c:pt>
                      <c:pt idx="107">
                        <c:v>177.9</c:v>
                      </c:pt>
                      <c:pt idx="108">
                        <c:v>180.92</c:v>
                      </c:pt>
                      <c:pt idx="109">
                        <c:v>180.95</c:v>
                      </c:pt>
                      <c:pt idx="110">
                        <c:v>184.97</c:v>
                      </c:pt>
                      <c:pt idx="111">
                        <c:v>185.8</c:v>
                      </c:pt>
                      <c:pt idx="112">
                        <c:v>185.7</c:v>
                      </c:pt>
                      <c:pt idx="113">
                        <c:v>183.44</c:v>
                      </c:pt>
                      <c:pt idx="114">
                        <c:v>181.58</c:v>
                      </c:pt>
                      <c:pt idx="115">
                        <c:v>191.02</c:v>
                      </c:pt>
                      <c:pt idx="116">
                        <c:v>188.91</c:v>
                      </c:pt>
                      <c:pt idx="117">
                        <c:v>187.82</c:v>
                      </c:pt>
                      <c:pt idx="118">
                        <c:v>187.26</c:v>
                      </c:pt>
                      <c:pt idx="119">
                        <c:v>187.85</c:v>
                      </c:pt>
                      <c:pt idx="120">
                        <c:v>194.79</c:v>
                      </c:pt>
                      <c:pt idx="121">
                        <c:v>195.66</c:v>
                      </c:pt>
                      <c:pt idx="122">
                        <c:v>196.02</c:v>
                      </c:pt>
                      <c:pt idx="123">
                        <c:v>199.9</c:v>
                      </c:pt>
                      <c:pt idx="124">
                        <c:v>199.65</c:v>
                      </c:pt>
                      <c:pt idx="125">
                        <c:v>197.86</c:v>
                      </c:pt>
                      <c:pt idx="126">
                        <c:v>195.92</c:v>
                      </c:pt>
                      <c:pt idx="127">
                        <c:v>198.68</c:v>
                      </c:pt>
                      <c:pt idx="128">
                        <c:v>198.37</c:v>
                      </c:pt>
                      <c:pt idx="129">
                        <c:v>193.65</c:v>
                      </c:pt>
                      <c:pt idx="130">
                        <c:v>189.49</c:v>
                      </c:pt>
                      <c:pt idx="131">
                        <c:v>190.81</c:v>
                      </c:pt>
                      <c:pt idx="132">
                        <c:v>193.39</c:v>
                      </c:pt>
                      <c:pt idx="133">
                        <c:v>196.68</c:v>
                      </c:pt>
                      <c:pt idx="134">
                        <c:v>197.57</c:v>
                      </c:pt>
                      <c:pt idx="135">
                        <c:v>199.48</c:v>
                      </c:pt>
                      <c:pt idx="136">
                        <c:v>198.07</c:v>
                      </c:pt>
                      <c:pt idx="137">
                        <c:v>197.53</c:v>
                      </c:pt>
                      <c:pt idx="138">
                        <c:v>198.31</c:v>
                      </c:pt>
                      <c:pt idx="139">
                        <c:v>201.73</c:v>
                      </c:pt>
                      <c:pt idx="140">
                        <c:v>203.57</c:v>
                      </c:pt>
                      <c:pt idx="141">
                        <c:v>202.8</c:v>
                      </c:pt>
                      <c:pt idx="142">
                        <c:v>203.51</c:v>
                      </c:pt>
                      <c:pt idx="143">
                        <c:v>204.43</c:v>
                      </c:pt>
                      <c:pt idx="144">
                        <c:v>210.37</c:v>
                      </c:pt>
                      <c:pt idx="145">
                        <c:v>209.89</c:v>
                      </c:pt>
                      <c:pt idx="146">
                        <c:v>214.64</c:v>
                      </c:pt>
                      <c:pt idx="147">
                        <c:v>216.52</c:v>
                      </c:pt>
                      <c:pt idx="148">
                        <c:v>216.78</c:v>
                      </c:pt>
                      <c:pt idx="149">
                        <c:v>213.43</c:v>
                      </c:pt>
                      <c:pt idx="150">
                        <c:v>212.84</c:v>
                      </c:pt>
                      <c:pt idx="151">
                        <c:v>220.39</c:v>
                      </c:pt>
                      <c:pt idx="152">
                        <c:v>218.54</c:v>
                      </c:pt>
                      <c:pt idx="153">
                        <c:v>218.81</c:v>
                      </c:pt>
                      <c:pt idx="154">
                        <c:v>221.53</c:v>
                      </c:pt>
                      <c:pt idx="155">
                        <c:v>216.08</c:v>
                      </c:pt>
                      <c:pt idx="156">
                        <c:v>223.66</c:v>
                      </c:pt>
                      <c:pt idx="157">
                        <c:v>229.97</c:v>
                      </c:pt>
                      <c:pt idx="158">
                        <c:v>229.86</c:v>
                      </c:pt>
                      <c:pt idx="159">
                        <c:v>232.47</c:v>
                      </c:pt>
                      <c:pt idx="160">
                        <c:v>238.01</c:v>
                      </c:pt>
                      <c:pt idx="161">
                        <c:v>237.86</c:v>
                      </c:pt>
                      <c:pt idx="162">
                        <c:v>235.91</c:v>
                      </c:pt>
                      <c:pt idx="163">
                        <c:v>247.45</c:v>
                      </c:pt>
                      <c:pt idx="164">
                        <c:v>249.29</c:v>
                      </c:pt>
                      <c:pt idx="165">
                        <c:v>250.29</c:v>
                      </c:pt>
                      <c:pt idx="166">
                        <c:v>254.16</c:v>
                      </c:pt>
                      <c:pt idx="167">
                        <c:v>257.24</c:v>
                      </c:pt>
                      <c:pt idx="168">
                        <c:v>264.97000000000003</c:v>
                      </c:pt>
                      <c:pt idx="169">
                        <c:v>266.92</c:v>
                      </c:pt>
                      <c:pt idx="170">
                        <c:v>269.87</c:v>
                      </c:pt>
                      <c:pt idx="171">
                        <c:v>272.39</c:v>
                      </c:pt>
                      <c:pt idx="172">
                        <c:v>268.57</c:v>
                      </c:pt>
                      <c:pt idx="173">
                        <c:v>266.10000000000002</c:v>
                      </c:pt>
                      <c:pt idx="174">
                        <c:v>259.85000000000002</c:v>
                      </c:pt>
                      <c:pt idx="175">
                        <c:v>268.43</c:v>
                      </c:pt>
                      <c:pt idx="176">
                        <c:v>262.24</c:v>
                      </c:pt>
                      <c:pt idx="177">
                        <c:v>262.18</c:v>
                      </c:pt>
                      <c:pt idx="178">
                        <c:v>261.33</c:v>
                      </c:pt>
                      <c:pt idx="179">
                        <c:v>260.58</c:v>
                      </c:pt>
                      <c:pt idx="180">
                        <c:v>263.85000000000002</c:v>
                      </c:pt>
                      <c:pt idx="181">
                        <c:v>266.42</c:v>
                      </c:pt>
                      <c:pt idx="182">
                        <c:v>267.43</c:v>
                      </c:pt>
                      <c:pt idx="183">
                        <c:v>270.42</c:v>
                      </c:pt>
                      <c:pt idx="184">
                        <c:v>274.41000000000003</c:v>
                      </c:pt>
                      <c:pt idx="185">
                        <c:v>269.38</c:v>
                      </c:pt>
                      <c:pt idx="186">
                        <c:v>270.42</c:v>
                      </c:pt>
                      <c:pt idx="187">
                        <c:v>272.57</c:v>
                      </c:pt>
                      <c:pt idx="188">
                        <c:v>271.42</c:v>
                      </c:pt>
                      <c:pt idx="189">
                        <c:v>268.08</c:v>
                      </c:pt>
                      <c:pt idx="190">
                        <c:v>264.58999999999997</c:v>
                      </c:pt>
                      <c:pt idx="191">
                        <c:v>266.95</c:v>
                      </c:pt>
                      <c:pt idx="192">
                        <c:v>269.58</c:v>
                      </c:pt>
                      <c:pt idx="193">
                        <c:v>271.86</c:v>
                      </c:pt>
                      <c:pt idx="194">
                        <c:v>276.19</c:v>
                      </c:pt>
                      <c:pt idx="195">
                        <c:v>275.64</c:v>
                      </c:pt>
                      <c:pt idx="196">
                        <c:v>274.73</c:v>
                      </c:pt>
                      <c:pt idx="197">
                        <c:v>274.39</c:v>
                      </c:pt>
                      <c:pt idx="198">
                        <c:v>273.27</c:v>
                      </c:pt>
                      <c:pt idx="199">
                        <c:v>276.88</c:v>
                      </c:pt>
                      <c:pt idx="200">
                        <c:v>276.75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Fredrikstad/Sarpsborg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2:$E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99.8</c:v>
                      </c:pt>
                      <c:pt idx="2">
                        <c:v>101.08</c:v>
                      </c:pt>
                      <c:pt idx="3">
                        <c:v>100.59</c:v>
                      </c:pt>
                      <c:pt idx="4">
                        <c:v>99.23</c:v>
                      </c:pt>
                      <c:pt idx="5">
                        <c:v>100.02</c:v>
                      </c:pt>
                      <c:pt idx="6">
                        <c:v>98.23</c:v>
                      </c:pt>
                      <c:pt idx="7">
                        <c:v>100</c:v>
                      </c:pt>
                      <c:pt idx="8">
                        <c:v>99.82</c:v>
                      </c:pt>
                      <c:pt idx="9">
                        <c:v>99.64</c:v>
                      </c:pt>
                      <c:pt idx="10">
                        <c:v>100.21</c:v>
                      </c:pt>
                      <c:pt idx="11">
                        <c:v>100.23</c:v>
                      </c:pt>
                      <c:pt idx="12">
                        <c:v>102.45</c:v>
                      </c:pt>
                      <c:pt idx="13">
                        <c:v>103.37</c:v>
                      </c:pt>
                      <c:pt idx="14">
                        <c:v>105.42</c:v>
                      </c:pt>
                      <c:pt idx="15">
                        <c:v>107.77</c:v>
                      </c:pt>
                      <c:pt idx="16">
                        <c:v>107.15</c:v>
                      </c:pt>
                      <c:pt idx="17">
                        <c:v>107.88</c:v>
                      </c:pt>
                      <c:pt idx="18">
                        <c:v>107.27</c:v>
                      </c:pt>
                      <c:pt idx="19">
                        <c:v>110.3</c:v>
                      </c:pt>
                      <c:pt idx="20">
                        <c:v>109.63</c:v>
                      </c:pt>
                      <c:pt idx="21">
                        <c:v>110.15</c:v>
                      </c:pt>
                      <c:pt idx="22">
                        <c:v>110.35</c:v>
                      </c:pt>
                      <c:pt idx="23">
                        <c:v>111.49</c:v>
                      </c:pt>
                      <c:pt idx="24">
                        <c:v>112.53</c:v>
                      </c:pt>
                      <c:pt idx="25">
                        <c:v>114.55</c:v>
                      </c:pt>
                      <c:pt idx="26">
                        <c:v>116.62</c:v>
                      </c:pt>
                      <c:pt idx="27">
                        <c:v>117.58</c:v>
                      </c:pt>
                      <c:pt idx="28">
                        <c:v>119.09</c:v>
                      </c:pt>
                      <c:pt idx="29">
                        <c:v>117.5</c:v>
                      </c:pt>
                      <c:pt idx="30">
                        <c:v>116.09</c:v>
                      </c:pt>
                      <c:pt idx="31">
                        <c:v>119.9</c:v>
                      </c:pt>
                      <c:pt idx="32">
                        <c:v>118.24</c:v>
                      </c:pt>
                      <c:pt idx="33">
                        <c:v>118.71</c:v>
                      </c:pt>
                      <c:pt idx="34">
                        <c:v>118.78</c:v>
                      </c:pt>
                      <c:pt idx="35">
                        <c:v>117.99</c:v>
                      </c:pt>
                      <c:pt idx="36">
                        <c:v>120.45</c:v>
                      </c:pt>
                      <c:pt idx="37">
                        <c:v>122.15</c:v>
                      </c:pt>
                      <c:pt idx="38">
                        <c:v>125.09</c:v>
                      </c:pt>
                      <c:pt idx="39">
                        <c:v>125.98</c:v>
                      </c:pt>
                      <c:pt idx="40">
                        <c:v>127.27</c:v>
                      </c:pt>
                      <c:pt idx="41">
                        <c:v>127.59</c:v>
                      </c:pt>
                      <c:pt idx="42">
                        <c:v>127.42</c:v>
                      </c:pt>
                      <c:pt idx="43">
                        <c:v>129.41</c:v>
                      </c:pt>
                      <c:pt idx="44">
                        <c:v>130.47999999999999</c:v>
                      </c:pt>
                      <c:pt idx="45">
                        <c:v>132.02000000000001</c:v>
                      </c:pt>
                      <c:pt idx="46">
                        <c:v>130.5</c:v>
                      </c:pt>
                      <c:pt idx="47">
                        <c:v>130.27000000000001</c:v>
                      </c:pt>
                      <c:pt idx="48">
                        <c:v>134.63999999999999</c:v>
                      </c:pt>
                      <c:pt idx="49">
                        <c:v>138.19999999999999</c:v>
                      </c:pt>
                      <c:pt idx="50">
                        <c:v>139.69999999999999</c:v>
                      </c:pt>
                      <c:pt idx="51">
                        <c:v>142.1</c:v>
                      </c:pt>
                      <c:pt idx="52">
                        <c:v>144.38999999999999</c:v>
                      </c:pt>
                      <c:pt idx="53">
                        <c:v>143.44</c:v>
                      </c:pt>
                      <c:pt idx="54">
                        <c:v>142.69999999999999</c:v>
                      </c:pt>
                      <c:pt idx="55">
                        <c:v>147.27000000000001</c:v>
                      </c:pt>
                      <c:pt idx="56">
                        <c:v>145.08000000000001</c:v>
                      </c:pt>
                      <c:pt idx="57">
                        <c:v>143.43</c:v>
                      </c:pt>
                      <c:pt idx="58">
                        <c:v>143.94999999999999</c:v>
                      </c:pt>
                      <c:pt idx="59">
                        <c:v>144.33000000000001</c:v>
                      </c:pt>
                      <c:pt idx="60">
                        <c:v>146</c:v>
                      </c:pt>
                      <c:pt idx="61">
                        <c:v>145.91</c:v>
                      </c:pt>
                      <c:pt idx="62">
                        <c:v>147.63</c:v>
                      </c:pt>
                      <c:pt idx="63">
                        <c:v>149.63999999999999</c:v>
                      </c:pt>
                      <c:pt idx="64">
                        <c:v>151.31</c:v>
                      </c:pt>
                      <c:pt idx="65">
                        <c:v>148.15</c:v>
                      </c:pt>
                      <c:pt idx="66">
                        <c:v>145.81</c:v>
                      </c:pt>
                      <c:pt idx="67">
                        <c:v>149</c:v>
                      </c:pt>
                      <c:pt idx="68">
                        <c:v>145.54</c:v>
                      </c:pt>
                      <c:pt idx="69">
                        <c:v>140.21</c:v>
                      </c:pt>
                      <c:pt idx="70">
                        <c:v>136.16999999999999</c:v>
                      </c:pt>
                      <c:pt idx="71">
                        <c:v>135.65</c:v>
                      </c:pt>
                      <c:pt idx="72">
                        <c:v>138.59</c:v>
                      </c:pt>
                      <c:pt idx="73">
                        <c:v>141.79</c:v>
                      </c:pt>
                      <c:pt idx="74">
                        <c:v>142.66</c:v>
                      </c:pt>
                      <c:pt idx="75">
                        <c:v>144.16999999999999</c:v>
                      </c:pt>
                      <c:pt idx="76">
                        <c:v>143.85</c:v>
                      </c:pt>
                      <c:pt idx="77">
                        <c:v>146.12</c:v>
                      </c:pt>
                      <c:pt idx="78">
                        <c:v>144.01</c:v>
                      </c:pt>
                      <c:pt idx="79">
                        <c:v>146.37</c:v>
                      </c:pt>
                      <c:pt idx="80">
                        <c:v>145.68</c:v>
                      </c:pt>
                      <c:pt idx="81">
                        <c:v>146.75</c:v>
                      </c:pt>
                      <c:pt idx="82">
                        <c:v>144.72999999999999</c:v>
                      </c:pt>
                      <c:pt idx="83">
                        <c:v>144.63</c:v>
                      </c:pt>
                      <c:pt idx="84">
                        <c:v>147.99</c:v>
                      </c:pt>
                      <c:pt idx="85">
                        <c:v>150.31</c:v>
                      </c:pt>
                      <c:pt idx="86">
                        <c:v>149.85</c:v>
                      </c:pt>
                      <c:pt idx="87">
                        <c:v>151.87</c:v>
                      </c:pt>
                      <c:pt idx="88">
                        <c:v>152.41999999999999</c:v>
                      </c:pt>
                      <c:pt idx="89">
                        <c:v>153.26</c:v>
                      </c:pt>
                      <c:pt idx="90">
                        <c:v>149.82</c:v>
                      </c:pt>
                      <c:pt idx="91">
                        <c:v>153.69</c:v>
                      </c:pt>
                      <c:pt idx="92">
                        <c:v>152.18</c:v>
                      </c:pt>
                      <c:pt idx="93">
                        <c:v>152.83000000000001</c:v>
                      </c:pt>
                      <c:pt idx="94">
                        <c:v>152.28</c:v>
                      </c:pt>
                      <c:pt idx="95">
                        <c:v>150.47999999999999</c:v>
                      </c:pt>
                      <c:pt idx="96">
                        <c:v>155.05000000000001</c:v>
                      </c:pt>
                      <c:pt idx="97">
                        <c:v>157.28</c:v>
                      </c:pt>
                      <c:pt idx="98">
                        <c:v>159.6</c:v>
                      </c:pt>
                      <c:pt idx="99">
                        <c:v>161.44</c:v>
                      </c:pt>
                      <c:pt idx="100">
                        <c:v>164.66</c:v>
                      </c:pt>
                      <c:pt idx="101">
                        <c:v>163.56</c:v>
                      </c:pt>
                      <c:pt idx="102">
                        <c:v>161.87</c:v>
                      </c:pt>
                      <c:pt idx="103">
                        <c:v>163.99</c:v>
                      </c:pt>
                      <c:pt idx="104">
                        <c:v>164.07</c:v>
                      </c:pt>
                      <c:pt idx="105">
                        <c:v>164.54</c:v>
                      </c:pt>
                      <c:pt idx="106">
                        <c:v>163.04</c:v>
                      </c:pt>
                      <c:pt idx="107">
                        <c:v>160.99</c:v>
                      </c:pt>
                      <c:pt idx="108">
                        <c:v>166.24</c:v>
                      </c:pt>
                      <c:pt idx="109">
                        <c:v>166.99</c:v>
                      </c:pt>
                      <c:pt idx="110">
                        <c:v>168.18</c:v>
                      </c:pt>
                      <c:pt idx="111">
                        <c:v>171.16</c:v>
                      </c:pt>
                      <c:pt idx="112">
                        <c:v>170.28</c:v>
                      </c:pt>
                      <c:pt idx="113">
                        <c:v>170.33</c:v>
                      </c:pt>
                      <c:pt idx="114">
                        <c:v>168.03</c:v>
                      </c:pt>
                      <c:pt idx="115">
                        <c:v>173.21</c:v>
                      </c:pt>
                      <c:pt idx="116">
                        <c:v>171.9</c:v>
                      </c:pt>
                      <c:pt idx="117">
                        <c:v>171.47</c:v>
                      </c:pt>
                      <c:pt idx="118">
                        <c:v>170.15</c:v>
                      </c:pt>
                      <c:pt idx="119">
                        <c:v>167.59</c:v>
                      </c:pt>
                      <c:pt idx="120">
                        <c:v>175.67</c:v>
                      </c:pt>
                      <c:pt idx="121">
                        <c:v>178.1</c:v>
                      </c:pt>
                      <c:pt idx="122">
                        <c:v>177.85</c:v>
                      </c:pt>
                      <c:pt idx="123">
                        <c:v>179.34</c:v>
                      </c:pt>
                      <c:pt idx="124">
                        <c:v>180.97</c:v>
                      </c:pt>
                      <c:pt idx="125">
                        <c:v>180.1</c:v>
                      </c:pt>
                      <c:pt idx="126">
                        <c:v>176.58</c:v>
                      </c:pt>
                      <c:pt idx="127">
                        <c:v>182.82</c:v>
                      </c:pt>
                      <c:pt idx="128">
                        <c:v>180.69</c:v>
                      </c:pt>
                      <c:pt idx="129">
                        <c:v>176.81</c:v>
                      </c:pt>
                      <c:pt idx="130">
                        <c:v>178.02</c:v>
                      </c:pt>
                      <c:pt idx="131">
                        <c:v>173.03</c:v>
                      </c:pt>
                      <c:pt idx="132">
                        <c:v>179.94</c:v>
                      </c:pt>
                      <c:pt idx="133">
                        <c:v>180.95</c:v>
                      </c:pt>
                      <c:pt idx="134">
                        <c:v>184.36</c:v>
                      </c:pt>
                      <c:pt idx="135">
                        <c:v>185.6</c:v>
                      </c:pt>
                      <c:pt idx="136">
                        <c:v>185.98</c:v>
                      </c:pt>
                      <c:pt idx="137">
                        <c:v>186.32</c:v>
                      </c:pt>
                      <c:pt idx="138">
                        <c:v>186.31</c:v>
                      </c:pt>
                      <c:pt idx="139">
                        <c:v>189.64</c:v>
                      </c:pt>
                      <c:pt idx="140">
                        <c:v>189.62</c:v>
                      </c:pt>
                      <c:pt idx="141">
                        <c:v>189.87</c:v>
                      </c:pt>
                      <c:pt idx="142">
                        <c:v>188.84</c:v>
                      </c:pt>
                      <c:pt idx="143">
                        <c:v>187.61</c:v>
                      </c:pt>
                      <c:pt idx="144">
                        <c:v>193.06</c:v>
                      </c:pt>
                      <c:pt idx="145">
                        <c:v>195.52</c:v>
                      </c:pt>
                      <c:pt idx="146">
                        <c:v>197.23</c:v>
                      </c:pt>
                      <c:pt idx="147">
                        <c:v>201.11</c:v>
                      </c:pt>
                      <c:pt idx="148">
                        <c:v>200.39</c:v>
                      </c:pt>
                      <c:pt idx="149">
                        <c:v>202.1</c:v>
                      </c:pt>
                      <c:pt idx="150">
                        <c:v>193.28</c:v>
                      </c:pt>
                      <c:pt idx="151">
                        <c:v>203.13</c:v>
                      </c:pt>
                      <c:pt idx="152">
                        <c:v>202.69</c:v>
                      </c:pt>
                      <c:pt idx="153">
                        <c:v>200.07</c:v>
                      </c:pt>
                      <c:pt idx="154">
                        <c:v>200.23</c:v>
                      </c:pt>
                      <c:pt idx="155">
                        <c:v>197.46</c:v>
                      </c:pt>
                      <c:pt idx="156">
                        <c:v>206.07</c:v>
                      </c:pt>
                      <c:pt idx="157">
                        <c:v>206.52</c:v>
                      </c:pt>
                      <c:pt idx="158">
                        <c:v>209.87</c:v>
                      </c:pt>
                      <c:pt idx="159">
                        <c:v>214.4</c:v>
                      </c:pt>
                      <c:pt idx="160">
                        <c:v>217.81</c:v>
                      </c:pt>
                      <c:pt idx="161">
                        <c:v>217.6</c:v>
                      </c:pt>
                      <c:pt idx="162">
                        <c:v>215.32</c:v>
                      </c:pt>
                      <c:pt idx="163">
                        <c:v>223.86</c:v>
                      </c:pt>
                      <c:pt idx="164">
                        <c:v>223.37</c:v>
                      </c:pt>
                      <c:pt idx="165">
                        <c:v>224.95</c:v>
                      </c:pt>
                      <c:pt idx="166">
                        <c:v>219.37</c:v>
                      </c:pt>
                      <c:pt idx="167">
                        <c:v>218.47</c:v>
                      </c:pt>
                      <c:pt idx="168">
                        <c:v>226.9</c:v>
                      </c:pt>
                      <c:pt idx="169">
                        <c:v>230.09</c:v>
                      </c:pt>
                      <c:pt idx="170">
                        <c:v>235.1</c:v>
                      </c:pt>
                      <c:pt idx="171">
                        <c:v>237.28</c:v>
                      </c:pt>
                      <c:pt idx="172">
                        <c:v>235.24</c:v>
                      </c:pt>
                      <c:pt idx="173">
                        <c:v>236.39</c:v>
                      </c:pt>
                      <c:pt idx="174">
                        <c:v>233.09</c:v>
                      </c:pt>
                      <c:pt idx="175">
                        <c:v>238.3</c:v>
                      </c:pt>
                      <c:pt idx="176">
                        <c:v>238.35</c:v>
                      </c:pt>
                      <c:pt idx="177">
                        <c:v>238.77</c:v>
                      </c:pt>
                      <c:pt idx="178">
                        <c:v>235.99</c:v>
                      </c:pt>
                      <c:pt idx="179">
                        <c:v>236.86</c:v>
                      </c:pt>
                      <c:pt idx="180">
                        <c:v>238.64</c:v>
                      </c:pt>
                      <c:pt idx="181">
                        <c:v>242.12</c:v>
                      </c:pt>
                      <c:pt idx="182">
                        <c:v>241.48</c:v>
                      </c:pt>
                      <c:pt idx="183">
                        <c:v>245.39</c:v>
                      </c:pt>
                      <c:pt idx="184">
                        <c:v>249.16</c:v>
                      </c:pt>
                      <c:pt idx="185">
                        <c:v>248.48</c:v>
                      </c:pt>
                      <c:pt idx="186">
                        <c:v>247.21</c:v>
                      </c:pt>
                      <c:pt idx="187">
                        <c:v>250.59</c:v>
                      </c:pt>
                      <c:pt idx="188">
                        <c:v>249.68</c:v>
                      </c:pt>
                      <c:pt idx="189">
                        <c:v>246.48</c:v>
                      </c:pt>
                      <c:pt idx="190">
                        <c:v>242</c:v>
                      </c:pt>
                      <c:pt idx="191">
                        <c:v>245.28</c:v>
                      </c:pt>
                      <c:pt idx="192">
                        <c:v>251.97</c:v>
                      </c:pt>
                      <c:pt idx="193">
                        <c:v>254.4</c:v>
                      </c:pt>
                      <c:pt idx="194">
                        <c:v>251.76</c:v>
                      </c:pt>
                      <c:pt idx="195">
                        <c:v>256.07</c:v>
                      </c:pt>
                      <c:pt idx="196">
                        <c:v>261.29000000000002</c:v>
                      </c:pt>
                      <c:pt idx="197">
                        <c:v>261.42</c:v>
                      </c:pt>
                      <c:pt idx="198">
                        <c:v>253.47</c:v>
                      </c:pt>
                      <c:pt idx="199">
                        <c:v>262.60000000000002</c:v>
                      </c:pt>
                      <c:pt idx="200">
                        <c:v>260.16000000000003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Romerike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2:$G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0.34</c:v>
                      </c:pt>
                      <c:pt idx="2">
                        <c:v>101.22</c:v>
                      </c:pt>
                      <c:pt idx="3">
                        <c:v>101.62</c:v>
                      </c:pt>
                      <c:pt idx="4">
                        <c:v>99.36</c:v>
                      </c:pt>
                      <c:pt idx="5">
                        <c:v>99.16</c:v>
                      </c:pt>
                      <c:pt idx="6">
                        <c:v>99.39</c:v>
                      </c:pt>
                      <c:pt idx="7">
                        <c:v>99.67</c:v>
                      </c:pt>
                      <c:pt idx="8">
                        <c:v>102.07</c:v>
                      </c:pt>
                      <c:pt idx="9">
                        <c:v>102.64</c:v>
                      </c:pt>
                      <c:pt idx="10">
                        <c:v>102.2</c:v>
                      </c:pt>
                      <c:pt idx="11">
                        <c:v>102.43</c:v>
                      </c:pt>
                      <c:pt idx="12">
                        <c:v>105.16</c:v>
                      </c:pt>
                      <c:pt idx="13">
                        <c:v>108.86</c:v>
                      </c:pt>
                      <c:pt idx="14">
                        <c:v>108.49</c:v>
                      </c:pt>
                      <c:pt idx="15">
                        <c:v>109.82</c:v>
                      </c:pt>
                      <c:pt idx="16">
                        <c:v>109.33</c:v>
                      </c:pt>
                      <c:pt idx="17">
                        <c:v>108.16</c:v>
                      </c:pt>
                      <c:pt idx="18">
                        <c:v>108.15</c:v>
                      </c:pt>
                      <c:pt idx="19">
                        <c:v>110.74</c:v>
                      </c:pt>
                      <c:pt idx="20">
                        <c:v>110.17</c:v>
                      </c:pt>
                      <c:pt idx="21">
                        <c:v>110.83</c:v>
                      </c:pt>
                      <c:pt idx="22">
                        <c:v>111.11</c:v>
                      </c:pt>
                      <c:pt idx="23">
                        <c:v>110.76</c:v>
                      </c:pt>
                      <c:pt idx="24">
                        <c:v>113.86</c:v>
                      </c:pt>
                      <c:pt idx="25">
                        <c:v>115.49</c:v>
                      </c:pt>
                      <c:pt idx="26">
                        <c:v>116.08</c:v>
                      </c:pt>
                      <c:pt idx="27">
                        <c:v>115.9</c:v>
                      </c:pt>
                      <c:pt idx="28">
                        <c:v>117.03</c:v>
                      </c:pt>
                      <c:pt idx="29">
                        <c:v>117.16</c:v>
                      </c:pt>
                      <c:pt idx="30">
                        <c:v>116.38</c:v>
                      </c:pt>
                      <c:pt idx="31">
                        <c:v>119.12</c:v>
                      </c:pt>
                      <c:pt idx="32">
                        <c:v>119.62</c:v>
                      </c:pt>
                      <c:pt idx="33">
                        <c:v>119.13</c:v>
                      </c:pt>
                      <c:pt idx="34">
                        <c:v>118.14</c:v>
                      </c:pt>
                      <c:pt idx="35">
                        <c:v>116.66</c:v>
                      </c:pt>
                      <c:pt idx="36">
                        <c:v>123.74</c:v>
                      </c:pt>
                      <c:pt idx="37">
                        <c:v>122.9</c:v>
                      </c:pt>
                      <c:pt idx="38">
                        <c:v>124.91</c:v>
                      </c:pt>
                      <c:pt idx="39">
                        <c:v>126.15</c:v>
                      </c:pt>
                      <c:pt idx="40">
                        <c:v>128.99</c:v>
                      </c:pt>
                      <c:pt idx="41">
                        <c:v>128.83000000000001</c:v>
                      </c:pt>
                      <c:pt idx="42">
                        <c:v>127.9</c:v>
                      </c:pt>
                      <c:pt idx="43">
                        <c:v>131.5</c:v>
                      </c:pt>
                      <c:pt idx="44">
                        <c:v>134.22</c:v>
                      </c:pt>
                      <c:pt idx="45">
                        <c:v>135.28</c:v>
                      </c:pt>
                      <c:pt idx="46">
                        <c:v>132.78</c:v>
                      </c:pt>
                      <c:pt idx="47">
                        <c:v>135.25</c:v>
                      </c:pt>
                      <c:pt idx="48">
                        <c:v>141.38</c:v>
                      </c:pt>
                      <c:pt idx="49">
                        <c:v>145.81</c:v>
                      </c:pt>
                      <c:pt idx="50">
                        <c:v>146.53</c:v>
                      </c:pt>
                      <c:pt idx="51">
                        <c:v>149.21</c:v>
                      </c:pt>
                      <c:pt idx="52">
                        <c:v>149.1</c:v>
                      </c:pt>
                      <c:pt idx="53">
                        <c:v>149.24</c:v>
                      </c:pt>
                      <c:pt idx="54">
                        <c:v>149.97</c:v>
                      </c:pt>
                      <c:pt idx="55">
                        <c:v>152.03</c:v>
                      </c:pt>
                      <c:pt idx="56">
                        <c:v>150.61000000000001</c:v>
                      </c:pt>
                      <c:pt idx="57">
                        <c:v>148.75</c:v>
                      </c:pt>
                      <c:pt idx="58">
                        <c:v>146.72</c:v>
                      </c:pt>
                      <c:pt idx="59">
                        <c:v>146.13</c:v>
                      </c:pt>
                      <c:pt idx="60">
                        <c:v>150.87</c:v>
                      </c:pt>
                      <c:pt idx="61">
                        <c:v>151.49</c:v>
                      </c:pt>
                      <c:pt idx="62">
                        <c:v>152.69</c:v>
                      </c:pt>
                      <c:pt idx="63">
                        <c:v>153.49</c:v>
                      </c:pt>
                      <c:pt idx="64">
                        <c:v>152.65</c:v>
                      </c:pt>
                      <c:pt idx="65">
                        <c:v>151.52000000000001</c:v>
                      </c:pt>
                      <c:pt idx="66">
                        <c:v>149.02000000000001</c:v>
                      </c:pt>
                      <c:pt idx="67">
                        <c:v>149.61000000000001</c:v>
                      </c:pt>
                      <c:pt idx="68">
                        <c:v>147.46</c:v>
                      </c:pt>
                      <c:pt idx="69">
                        <c:v>140.58000000000001</c:v>
                      </c:pt>
                      <c:pt idx="70">
                        <c:v>135.5</c:v>
                      </c:pt>
                      <c:pt idx="71">
                        <c:v>134.96</c:v>
                      </c:pt>
                      <c:pt idx="72">
                        <c:v>139.03</c:v>
                      </c:pt>
                      <c:pt idx="73">
                        <c:v>141.9</c:v>
                      </c:pt>
                      <c:pt idx="74">
                        <c:v>142.88999999999999</c:v>
                      </c:pt>
                      <c:pt idx="75">
                        <c:v>146.34</c:v>
                      </c:pt>
                      <c:pt idx="76">
                        <c:v>145.85</c:v>
                      </c:pt>
                      <c:pt idx="77">
                        <c:v>147.38</c:v>
                      </c:pt>
                      <c:pt idx="78">
                        <c:v>147.9</c:v>
                      </c:pt>
                      <c:pt idx="79">
                        <c:v>151.63</c:v>
                      </c:pt>
                      <c:pt idx="80">
                        <c:v>152.19999999999999</c:v>
                      </c:pt>
                      <c:pt idx="81">
                        <c:v>151.21</c:v>
                      </c:pt>
                      <c:pt idx="82">
                        <c:v>152.61000000000001</c:v>
                      </c:pt>
                      <c:pt idx="83">
                        <c:v>150.41999999999999</c:v>
                      </c:pt>
                      <c:pt idx="84">
                        <c:v>154.38999999999999</c:v>
                      </c:pt>
                      <c:pt idx="85">
                        <c:v>155.63</c:v>
                      </c:pt>
                      <c:pt idx="86">
                        <c:v>156.52000000000001</c:v>
                      </c:pt>
                      <c:pt idx="87">
                        <c:v>159.97</c:v>
                      </c:pt>
                      <c:pt idx="88">
                        <c:v>159.47999999999999</c:v>
                      </c:pt>
                      <c:pt idx="89">
                        <c:v>159.31</c:v>
                      </c:pt>
                      <c:pt idx="90">
                        <c:v>158.66999999999999</c:v>
                      </c:pt>
                      <c:pt idx="91">
                        <c:v>162.41999999999999</c:v>
                      </c:pt>
                      <c:pt idx="92">
                        <c:v>160.59</c:v>
                      </c:pt>
                      <c:pt idx="93">
                        <c:v>160.41999999999999</c:v>
                      </c:pt>
                      <c:pt idx="94">
                        <c:v>161.75</c:v>
                      </c:pt>
                      <c:pt idx="95">
                        <c:v>161.41</c:v>
                      </c:pt>
                      <c:pt idx="96">
                        <c:v>166.08</c:v>
                      </c:pt>
                      <c:pt idx="97">
                        <c:v>168.08</c:v>
                      </c:pt>
                      <c:pt idx="98">
                        <c:v>171.15</c:v>
                      </c:pt>
                      <c:pt idx="99">
                        <c:v>168.94</c:v>
                      </c:pt>
                      <c:pt idx="100">
                        <c:v>172.04</c:v>
                      </c:pt>
                      <c:pt idx="101">
                        <c:v>171.67</c:v>
                      </c:pt>
                      <c:pt idx="102">
                        <c:v>171.29</c:v>
                      </c:pt>
                      <c:pt idx="103">
                        <c:v>174.75</c:v>
                      </c:pt>
                      <c:pt idx="104">
                        <c:v>175.92</c:v>
                      </c:pt>
                      <c:pt idx="105">
                        <c:v>175.7</c:v>
                      </c:pt>
                      <c:pt idx="106">
                        <c:v>174.63</c:v>
                      </c:pt>
                      <c:pt idx="107">
                        <c:v>176.45</c:v>
                      </c:pt>
                      <c:pt idx="108">
                        <c:v>179.52</c:v>
                      </c:pt>
                      <c:pt idx="109">
                        <c:v>179.75</c:v>
                      </c:pt>
                      <c:pt idx="110">
                        <c:v>183.91</c:v>
                      </c:pt>
                      <c:pt idx="111">
                        <c:v>185.24</c:v>
                      </c:pt>
                      <c:pt idx="112">
                        <c:v>185.67</c:v>
                      </c:pt>
                      <c:pt idx="113">
                        <c:v>183.69</c:v>
                      </c:pt>
                      <c:pt idx="114">
                        <c:v>181.8</c:v>
                      </c:pt>
                      <c:pt idx="115">
                        <c:v>191.74</c:v>
                      </c:pt>
                      <c:pt idx="116">
                        <c:v>189.16</c:v>
                      </c:pt>
                      <c:pt idx="117">
                        <c:v>188.08</c:v>
                      </c:pt>
                      <c:pt idx="118">
                        <c:v>187.63</c:v>
                      </c:pt>
                      <c:pt idx="119">
                        <c:v>188.32</c:v>
                      </c:pt>
                      <c:pt idx="120">
                        <c:v>195.49</c:v>
                      </c:pt>
                      <c:pt idx="121">
                        <c:v>196.13</c:v>
                      </c:pt>
                      <c:pt idx="122">
                        <c:v>196.76</c:v>
                      </c:pt>
                      <c:pt idx="123">
                        <c:v>200.05</c:v>
                      </c:pt>
                      <c:pt idx="124">
                        <c:v>199.83</c:v>
                      </c:pt>
                      <c:pt idx="125">
                        <c:v>198.11</c:v>
                      </c:pt>
                      <c:pt idx="126">
                        <c:v>196.58</c:v>
                      </c:pt>
                      <c:pt idx="127">
                        <c:v>199.62</c:v>
                      </c:pt>
                      <c:pt idx="128">
                        <c:v>200.11</c:v>
                      </c:pt>
                      <c:pt idx="129">
                        <c:v>195.73</c:v>
                      </c:pt>
                      <c:pt idx="130">
                        <c:v>191.67</c:v>
                      </c:pt>
                      <c:pt idx="131">
                        <c:v>192.74</c:v>
                      </c:pt>
                      <c:pt idx="132">
                        <c:v>195.53</c:v>
                      </c:pt>
                      <c:pt idx="133">
                        <c:v>198.81</c:v>
                      </c:pt>
                      <c:pt idx="134">
                        <c:v>199.91</c:v>
                      </c:pt>
                      <c:pt idx="135">
                        <c:v>202.9</c:v>
                      </c:pt>
                      <c:pt idx="136">
                        <c:v>201.49</c:v>
                      </c:pt>
                      <c:pt idx="137">
                        <c:v>201.13</c:v>
                      </c:pt>
                      <c:pt idx="138">
                        <c:v>201.75</c:v>
                      </c:pt>
                      <c:pt idx="139">
                        <c:v>205.34</c:v>
                      </c:pt>
                      <c:pt idx="140">
                        <c:v>207.22</c:v>
                      </c:pt>
                      <c:pt idx="141">
                        <c:v>206.76</c:v>
                      </c:pt>
                      <c:pt idx="142">
                        <c:v>207.54</c:v>
                      </c:pt>
                      <c:pt idx="143">
                        <c:v>208.65</c:v>
                      </c:pt>
                      <c:pt idx="144">
                        <c:v>214.87</c:v>
                      </c:pt>
                      <c:pt idx="145">
                        <c:v>215.42</c:v>
                      </c:pt>
                      <c:pt idx="146">
                        <c:v>220.69</c:v>
                      </c:pt>
                      <c:pt idx="147">
                        <c:v>222.47</c:v>
                      </c:pt>
                      <c:pt idx="148">
                        <c:v>223.61</c:v>
                      </c:pt>
                      <c:pt idx="149">
                        <c:v>220.39</c:v>
                      </c:pt>
                      <c:pt idx="150">
                        <c:v>219.86</c:v>
                      </c:pt>
                      <c:pt idx="151">
                        <c:v>227.75</c:v>
                      </c:pt>
                      <c:pt idx="152">
                        <c:v>225.78</c:v>
                      </c:pt>
                      <c:pt idx="153">
                        <c:v>226</c:v>
                      </c:pt>
                      <c:pt idx="154">
                        <c:v>229.1</c:v>
                      </c:pt>
                      <c:pt idx="155">
                        <c:v>223.61</c:v>
                      </c:pt>
                      <c:pt idx="156">
                        <c:v>231.69</c:v>
                      </c:pt>
                      <c:pt idx="157">
                        <c:v>237.3</c:v>
                      </c:pt>
                      <c:pt idx="158">
                        <c:v>236.96</c:v>
                      </c:pt>
                      <c:pt idx="159">
                        <c:v>239.29</c:v>
                      </c:pt>
                      <c:pt idx="160">
                        <c:v>243.6</c:v>
                      </c:pt>
                      <c:pt idx="161">
                        <c:v>243.09</c:v>
                      </c:pt>
                      <c:pt idx="162">
                        <c:v>241.3</c:v>
                      </c:pt>
                      <c:pt idx="163">
                        <c:v>253.29</c:v>
                      </c:pt>
                      <c:pt idx="164">
                        <c:v>255.6</c:v>
                      </c:pt>
                      <c:pt idx="165">
                        <c:v>256.2</c:v>
                      </c:pt>
                      <c:pt idx="166">
                        <c:v>260.22000000000003</c:v>
                      </c:pt>
                      <c:pt idx="167">
                        <c:v>262.75</c:v>
                      </c:pt>
                      <c:pt idx="168">
                        <c:v>271.18</c:v>
                      </c:pt>
                      <c:pt idx="169">
                        <c:v>273.52999999999997</c:v>
                      </c:pt>
                      <c:pt idx="170">
                        <c:v>277.02</c:v>
                      </c:pt>
                      <c:pt idx="171">
                        <c:v>279.45</c:v>
                      </c:pt>
                      <c:pt idx="172">
                        <c:v>274.88</c:v>
                      </c:pt>
                      <c:pt idx="173">
                        <c:v>271.08</c:v>
                      </c:pt>
                      <c:pt idx="174">
                        <c:v>264.87</c:v>
                      </c:pt>
                      <c:pt idx="175">
                        <c:v>272.19</c:v>
                      </c:pt>
                      <c:pt idx="176">
                        <c:v>265.32</c:v>
                      </c:pt>
                      <c:pt idx="177">
                        <c:v>263.73</c:v>
                      </c:pt>
                      <c:pt idx="178">
                        <c:v>261.39</c:v>
                      </c:pt>
                      <c:pt idx="179">
                        <c:v>260.49</c:v>
                      </c:pt>
                      <c:pt idx="180">
                        <c:v>263.55</c:v>
                      </c:pt>
                      <c:pt idx="181">
                        <c:v>266</c:v>
                      </c:pt>
                      <c:pt idx="182">
                        <c:v>266.62</c:v>
                      </c:pt>
                      <c:pt idx="183">
                        <c:v>269.45</c:v>
                      </c:pt>
                      <c:pt idx="184">
                        <c:v>272.76</c:v>
                      </c:pt>
                      <c:pt idx="185">
                        <c:v>268.73</c:v>
                      </c:pt>
                      <c:pt idx="186">
                        <c:v>269.94</c:v>
                      </c:pt>
                      <c:pt idx="187">
                        <c:v>271.81</c:v>
                      </c:pt>
                      <c:pt idx="188">
                        <c:v>270.32</c:v>
                      </c:pt>
                      <c:pt idx="189">
                        <c:v>267.63</c:v>
                      </c:pt>
                      <c:pt idx="190">
                        <c:v>265.14999999999998</c:v>
                      </c:pt>
                      <c:pt idx="191">
                        <c:v>267.58999999999997</c:v>
                      </c:pt>
                      <c:pt idx="192">
                        <c:v>270.35000000000002</c:v>
                      </c:pt>
                      <c:pt idx="193">
                        <c:v>272.60000000000002</c:v>
                      </c:pt>
                      <c:pt idx="194">
                        <c:v>276.92</c:v>
                      </c:pt>
                      <c:pt idx="195">
                        <c:v>276.38</c:v>
                      </c:pt>
                      <c:pt idx="196">
                        <c:v>276.05</c:v>
                      </c:pt>
                      <c:pt idx="197">
                        <c:v>274.73</c:v>
                      </c:pt>
                      <c:pt idx="198">
                        <c:v>273.72000000000003</c:v>
                      </c:pt>
                      <c:pt idx="199">
                        <c:v>277.73</c:v>
                      </c:pt>
                      <c:pt idx="200">
                        <c:v>278.31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H$1</c15:sqref>
                        </c15:formulaRef>
                      </c:ext>
                    </c:extLst>
                    <c:strCache>
                      <c:ptCount val="1"/>
                      <c:pt idx="0">
                        <c:v>Viken m/Oslo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H$2:$H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0.16</c:v>
                      </c:pt>
                      <c:pt idx="2">
                        <c:v>100.48</c:v>
                      </c:pt>
                      <c:pt idx="3">
                        <c:v>99.74</c:v>
                      </c:pt>
                      <c:pt idx="4">
                        <c:v>97.91</c:v>
                      </c:pt>
                      <c:pt idx="5">
                        <c:v>97.48</c:v>
                      </c:pt>
                      <c:pt idx="6">
                        <c:v>98.34</c:v>
                      </c:pt>
                      <c:pt idx="7">
                        <c:v>99.71</c:v>
                      </c:pt>
                      <c:pt idx="8">
                        <c:v>102.12</c:v>
                      </c:pt>
                      <c:pt idx="9">
                        <c:v>102.47</c:v>
                      </c:pt>
                      <c:pt idx="10">
                        <c:v>103.44</c:v>
                      </c:pt>
                      <c:pt idx="11">
                        <c:v>103.43</c:v>
                      </c:pt>
                      <c:pt idx="12">
                        <c:v>106.45</c:v>
                      </c:pt>
                      <c:pt idx="13">
                        <c:v>109.42</c:v>
                      </c:pt>
                      <c:pt idx="14">
                        <c:v>109.58</c:v>
                      </c:pt>
                      <c:pt idx="15">
                        <c:v>109.71</c:v>
                      </c:pt>
                      <c:pt idx="16">
                        <c:v>109.53</c:v>
                      </c:pt>
                      <c:pt idx="17">
                        <c:v>109.27</c:v>
                      </c:pt>
                      <c:pt idx="18">
                        <c:v>110.41</c:v>
                      </c:pt>
                      <c:pt idx="19">
                        <c:v>112.81</c:v>
                      </c:pt>
                      <c:pt idx="20">
                        <c:v>112.39</c:v>
                      </c:pt>
                      <c:pt idx="21">
                        <c:v>113.17</c:v>
                      </c:pt>
                      <c:pt idx="22">
                        <c:v>113.21</c:v>
                      </c:pt>
                      <c:pt idx="23">
                        <c:v>113.67</c:v>
                      </c:pt>
                      <c:pt idx="24">
                        <c:v>116.87</c:v>
                      </c:pt>
                      <c:pt idx="25">
                        <c:v>118.32</c:v>
                      </c:pt>
                      <c:pt idx="26">
                        <c:v>118.62</c:v>
                      </c:pt>
                      <c:pt idx="27">
                        <c:v>118.8</c:v>
                      </c:pt>
                      <c:pt idx="28">
                        <c:v>119.21</c:v>
                      </c:pt>
                      <c:pt idx="29">
                        <c:v>118.51</c:v>
                      </c:pt>
                      <c:pt idx="30">
                        <c:v>118.78</c:v>
                      </c:pt>
                      <c:pt idx="31">
                        <c:v>122.42</c:v>
                      </c:pt>
                      <c:pt idx="32">
                        <c:v>122.33</c:v>
                      </c:pt>
                      <c:pt idx="33">
                        <c:v>123.22</c:v>
                      </c:pt>
                      <c:pt idx="34">
                        <c:v>122.67</c:v>
                      </c:pt>
                      <c:pt idx="35">
                        <c:v>122.93</c:v>
                      </c:pt>
                      <c:pt idx="36">
                        <c:v>127.66</c:v>
                      </c:pt>
                      <c:pt idx="37">
                        <c:v>129.07</c:v>
                      </c:pt>
                      <c:pt idx="38">
                        <c:v>130.81</c:v>
                      </c:pt>
                      <c:pt idx="39">
                        <c:v>132.44999999999999</c:v>
                      </c:pt>
                      <c:pt idx="40">
                        <c:v>134.6</c:v>
                      </c:pt>
                      <c:pt idx="41">
                        <c:v>135.41999999999999</c:v>
                      </c:pt>
                      <c:pt idx="42">
                        <c:v>135.82</c:v>
                      </c:pt>
                      <c:pt idx="43">
                        <c:v>139.88999999999999</c:v>
                      </c:pt>
                      <c:pt idx="44">
                        <c:v>141.63999999999999</c:v>
                      </c:pt>
                      <c:pt idx="45">
                        <c:v>142.43</c:v>
                      </c:pt>
                      <c:pt idx="46">
                        <c:v>141.29</c:v>
                      </c:pt>
                      <c:pt idx="47">
                        <c:v>144.07</c:v>
                      </c:pt>
                      <c:pt idx="48">
                        <c:v>148.91</c:v>
                      </c:pt>
                      <c:pt idx="49">
                        <c:v>151.38999999999999</c:v>
                      </c:pt>
                      <c:pt idx="50">
                        <c:v>151.6</c:v>
                      </c:pt>
                      <c:pt idx="51">
                        <c:v>153.08000000000001</c:v>
                      </c:pt>
                      <c:pt idx="52">
                        <c:v>153.41999999999999</c:v>
                      </c:pt>
                      <c:pt idx="53">
                        <c:v>152.62</c:v>
                      </c:pt>
                      <c:pt idx="54">
                        <c:v>153.31</c:v>
                      </c:pt>
                      <c:pt idx="55">
                        <c:v>155.33000000000001</c:v>
                      </c:pt>
                      <c:pt idx="56">
                        <c:v>152.55000000000001</c:v>
                      </c:pt>
                      <c:pt idx="57">
                        <c:v>150.37</c:v>
                      </c:pt>
                      <c:pt idx="58">
                        <c:v>148.66</c:v>
                      </c:pt>
                      <c:pt idx="59">
                        <c:v>148.36000000000001</c:v>
                      </c:pt>
                      <c:pt idx="60">
                        <c:v>151.08000000000001</c:v>
                      </c:pt>
                      <c:pt idx="61">
                        <c:v>150.66</c:v>
                      </c:pt>
                      <c:pt idx="62">
                        <c:v>151.77000000000001</c:v>
                      </c:pt>
                      <c:pt idx="63">
                        <c:v>152.29</c:v>
                      </c:pt>
                      <c:pt idx="64">
                        <c:v>151.41</c:v>
                      </c:pt>
                      <c:pt idx="65">
                        <c:v>149.87</c:v>
                      </c:pt>
                      <c:pt idx="66">
                        <c:v>147.37</c:v>
                      </c:pt>
                      <c:pt idx="67">
                        <c:v>149.65</c:v>
                      </c:pt>
                      <c:pt idx="68">
                        <c:v>147.05000000000001</c:v>
                      </c:pt>
                      <c:pt idx="69">
                        <c:v>141.27000000000001</c:v>
                      </c:pt>
                      <c:pt idx="70">
                        <c:v>136.1</c:v>
                      </c:pt>
                      <c:pt idx="71">
                        <c:v>134.41</c:v>
                      </c:pt>
                      <c:pt idx="72">
                        <c:v>139.85</c:v>
                      </c:pt>
                      <c:pt idx="73">
                        <c:v>142.97999999999999</c:v>
                      </c:pt>
                      <c:pt idx="74">
                        <c:v>144.53</c:v>
                      </c:pt>
                      <c:pt idx="75">
                        <c:v>147.13999999999999</c:v>
                      </c:pt>
                      <c:pt idx="76">
                        <c:v>147.66</c:v>
                      </c:pt>
                      <c:pt idx="77">
                        <c:v>149.5</c:v>
                      </c:pt>
                      <c:pt idx="78">
                        <c:v>149.5</c:v>
                      </c:pt>
                      <c:pt idx="79">
                        <c:v>153.47999999999999</c:v>
                      </c:pt>
                      <c:pt idx="80">
                        <c:v>152.82</c:v>
                      </c:pt>
                      <c:pt idx="81">
                        <c:v>153.24</c:v>
                      </c:pt>
                      <c:pt idx="82">
                        <c:v>152.54</c:v>
                      </c:pt>
                      <c:pt idx="83">
                        <c:v>151.97999999999999</c:v>
                      </c:pt>
                      <c:pt idx="84">
                        <c:v>156.06</c:v>
                      </c:pt>
                      <c:pt idx="85">
                        <c:v>156.72</c:v>
                      </c:pt>
                      <c:pt idx="86">
                        <c:v>157.74</c:v>
                      </c:pt>
                      <c:pt idx="87">
                        <c:v>159.80000000000001</c:v>
                      </c:pt>
                      <c:pt idx="88">
                        <c:v>160.31</c:v>
                      </c:pt>
                      <c:pt idx="89">
                        <c:v>159.74</c:v>
                      </c:pt>
                      <c:pt idx="90">
                        <c:v>158.12</c:v>
                      </c:pt>
                      <c:pt idx="91">
                        <c:v>162.66</c:v>
                      </c:pt>
                      <c:pt idx="92">
                        <c:v>162.22</c:v>
                      </c:pt>
                      <c:pt idx="93">
                        <c:v>162.72</c:v>
                      </c:pt>
                      <c:pt idx="94">
                        <c:v>163.11000000000001</c:v>
                      </c:pt>
                      <c:pt idx="95">
                        <c:v>163.41</c:v>
                      </c:pt>
                      <c:pt idx="96">
                        <c:v>169.13</c:v>
                      </c:pt>
                      <c:pt idx="97">
                        <c:v>170.88</c:v>
                      </c:pt>
                      <c:pt idx="98">
                        <c:v>173</c:v>
                      </c:pt>
                      <c:pt idx="99">
                        <c:v>173.73</c:v>
                      </c:pt>
                      <c:pt idx="100">
                        <c:v>176.12</c:v>
                      </c:pt>
                      <c:pt idx="101">
                        <c:v>174.88</c:v>
                      </c:pt>
                      <c:pt idx="102">
                        <c:v>174.87</c:v>
                      </c:pt>
                      <c:pt idx="103">
                        <c:v>178.41</c:v>
                      </c:pt>
                      <c:pt idx="104">
                        <c:v>178.87</c:v>
                      </c:pt>
                      <c:pt idx="105">
                        <c:v>179.87</c:v>
                      </c:pt>
                      <c:pt idx="106">
                        <c:v>179.33</c:v>
                      </c:pt>
                      <c:pt idx="107">
                        <c:v>178.88</c:v>
                      </c:pt>
                      <c:pt idx="108">
                        <c:v>183.17</c:v>
                      </c:pt>
                      <c:pt idx="109">
                        <c:v>184.44</c:v>
                      </c:pt>
                      <c:pt idx="110">
                        <c:v>187.27</c:v>
                      </c:pt>
                      <c:pt idx="111">
                        <c:v>189.18</c:v>
                      </c:pt>
                      <c:pt idx="112">
                        <c:v>190.5</c:v>
                      </c:pt>
                      <c:pt idx="113">
                        <c:v>189.74</c:v>
                      </c:pt>
                      <c:pt idx="114">
                        <c:v>190.72</c:v>
                      </c:pt>
                      <c:pt idx="115">
                        <c:v>195.72</c:v>
                      </c:pt>
                      <c:pt idx="116">
                        <c:v>193.59</c:v>
                      </c:pt>
                      <c:pt idx="117">
                        <c:v>193.56</c:v>
                      </c:pt>
                      <c:pt idx="118">
                        <c:v>194.38</c:v>
                      </c:pt>
                      <c:pt idx="119">
                        <c:v>194.95</c:v>
                      </c:pt>
                      <c:pt idx="120">
                        <c:v>200.52</c:v>
                      </c:pt>
                      <c:pt idx="121">
                        <c:v>200.93</c:v>
                      </c:pt>
                      <c:pt idx="122">
                        <c:v>201.69</c:v>
                      </c:pt>
                      <c:pt idx="123">
                        <c:v>203.08</c:v>
                      </c:pt>
                      <c:pt idx="124">
                        <c:v>203.29</c:v>
                      </c:pt>
                      <c:pt idx="125">
                        <c:v>200.65</c:v>
                      </c:pt>
                      <c:pt idx="126">
                        <c:v>199.89</c:v>
                      </c:pt>
                      <c:pt idx="127">
                        <c:v>202</c:v>
                      </c:pt>
                      <c:pt idx="128">
                        <c:v>199.28</c:v>
                      </c:pt>
                      <c:pt idx="129">
                        <c:v>194.71</c:v>
                      </c:pt>
                      <c:pt idx="130">
                        <c:v>192.64</c:v>
                      </c:pt>
                      <c:pt idx="131">
                        <c:v>190.7</c:v>
                      </c:pt>
                      <c:pt idx="132">
                        <c:v>195.46</c:v>
                      </c:pt>
                      <c:pt idx="133">
                        <c:v>197.7</c:v>
                      </c:pt>
                      <c:pt idx="134">
                        <c:v>199.8</c:v>
                      </c:pt>
                      <c:pt idx="135">
                        <c:v>203.14</c:v>
                      </c:pt>
                      <c:pt idx="136">
                        <c:v>203.69</c:v>
                      </c:pt>
                      <c:pt idx="137">
                        <c:v>202.94</c:v>
                      </c:pt>
                      <c:pt idx="138">
                        <c:v>205.31</c:v>
                      </c:pt>
                      <c:pt idx="139">
                        <c:v>207.46</c:v>
                      </c:pt>
                      <c:pt idx="140">
                        <c:v>207.92</c:v>
                      </c:pt>
                      <c:pt idx="141">
                        <c:v>208.92</c:v>
                      </c:pt>
                      <c:pt idx="142">
                        <c:v>209.8</c:v>
                      </c:pt>
                      <c:pt idx="143">
                        <c:v>210.86</c:v>
                      </c:pt>
                      <c:pt idx="144">
                        <c:v>216.89</c:v>
                      </c:pt>
                      <c:pt idx="145">
                        <c:v>219.92</c:v>
                      </c:pt>
                      <c:pt idx="146">
                        <c:v>221.54</c:v>
                      </c:pt>
                      <c:pt idx="147">
                        <c:v>224.53</c:v>
                      </c:pt>
                      <c:pt idx="148">
                        <c:v>225.34</c:v>
                      </c:pt>
                      <c:pt idx="149">
                        <c:v>225.6</c:v>
                      </c:pt>
                      <c:pt idx="150">
                        <c:v>227.84</c:v>
                      </c:pt>
                      <c:pt idx="151">
                        <c:v>230.62</c:v>
                      </c:pt>
                      <c:pt idx="152">
                        <c:v>228.19</c:v>
                      </c:pt>
                      <c:pt idx="153">
                        <c:v>227.37</c:v>
                      </c:pt>
                      <c:pt idx="154">
                        <c:v>229.5</c:v>
                      </c:pt>
                      <c:pt idx="155">
                        <c:v>229.21</c:v>
                      </c:pt>
                      <c:pt idx="156">
                        <c:v>236.26</c:v>
                      </c:pt>
                      <c:pt idx="157">
                        <c:v>239.78</c:v>
                      </c:pt>
                      <c:pt idx="158">
                        <c:v>242</c:v>
                      </c:pt>
                      <c:pt idx="159">
                        <c:v>246.81</c:v>
                      </c:pt>
                      <c:pt idx="160">
                        <c:v>252.81</c:v>
                      </c:pt>
                      <c:pt idx="161">
                        <c:v>253.53</c:v>
                      </c:pt>
                      <c:pt idx="162">
                        <c:v>260.44</c:v>
                      </c:pt>
                      <c:pt idx="163">
                        <c:v>266.14999999999998</c:v>
                      </c:pt>
                      <c:pt idx="164">
                        <c:v>267.16000000000003</c:v>
                      </c:pt>
                      <c:pt idx="165">
                        <c:v>271.22000000000003</c:v>
                      </c:pt>
                      <c:pt idx="166">
                        <c:v>273.07</c:v>
                      </c:pt>
                      <c:pt idx="167">
                        <c:v>276.57</c:v>
                      </c:pt>
                      <c:pt idx="168">
                        <c:v>283.14999999999998</c:v>
                      </c:pt>
                      <c:pt idx="169">
                        <c:v>285.91000000000003</c:v>
                      </c:pt>
                      <c:pt idx="170">
                        <c:v>286.42</c:v>
                      </c:pt>
                      <c:pt idx="171">
                        <c:v>286.73</c:v>
                      </c:pt>
                      <c:pt idx="172">
                        <c:v>281.89999999999998</c:v>
                      </c:pt>
                      <c:pt idx="173">
                        <c:v>276.22000000000003</c:v>
                      </c:pt>
                      <c:pt idx="174">
                        <c:v>271.83</c:v>
                      </c:pt>
                      <c:pt idx="175">
                        <c:v>276.48</c:v>
                      </c:pt>
                      <c:pt idx="176">
                        <c:v>271.08999999999997</c:v>
                      </c:pt>
                      <c:pt idx="177">
                        <c:v>269.93</c:v>
                      </c:pt>
                      <c:pt idx="178">
                        <c:v>267.99</c:v>
                      </c:pt>
                      <c:pt idx="179">
                        <c:v>265.73</c:v>
                      </c:pt>
                      <c:pt idx="180">
                        <c:v>270.54000000000002</c:v>
                      </c:pt>
                      <c:pt idx="181">
                        <c:v>274.05</c:v>
                      </c:pt>
                      <c:pt idx="182">
                        <c:v>276.41000000000003</c:v>
                      </c:pt>
                      <c:pt idx="183">
                        <c:v>281.38</c:v>
                      </c:pt>
                      <c:pt idx="184">
                        <c:v>284.66000000000003</c:v>
                      </c:pt>
                      <c:pt idx="185">
                        <c:v>281.26</c:v>
                      </c:pt>
                      <c:pt idx="186">
                        <c:v>283.94</c:v>
                      </c:pt>
                      <c:pt idx="187">
                        <c:v>284.57</c:v>
                      </c:pt>
                      <c:pt idx="188">
                        <c:v>280.97000000000003</c:v>
                      </c:pt>
                      <c:pt idx="189">
                        <c:v>279.49</c:v>
                      </c:pt>
                      <c:pt idx="190">
                        <c:v>276.66000000000003</c:v>
                      </c:pt>
                      <c:pt idx="191">
                        <c:v>277.77999999999997</c:v>
                      </c:pt>
                      <c:pt idx="192">
                        <c:v>282.64</c:v>
                      </c:pt>
                      <c:pt idx="193">
                        <c:v>285.51</c:v>
                      </c:pt>
                      <c:pt idx="194">
                        <c:v>287.97000000000003</c:v>
                      </c:pt>
                      <c:pt idx="195">
                        <c:v>289.7</c:v>
                      </c:pt>
                      <c:pt idx="196">
                        <c:v>290.77999999999997</c:v>
                      </c:pt>
                      <c:pt idx="197">
                        <c:v>290.27</c:v>
                      </c:pt>
                      <c:pt idx="198">
                        <c:v>288.56</c:v>
                      </c:pt>
                      <c:pt idx="199">
                        <c:v>293.74</c:v>
                      </c:pt>
                      <c:pt idx="200">
                        <c:v>291.37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I$1</c15:sqref>
                        </c15:formulaRef>
                      </c:ext>
                    </c:extLst>
                    <c:strCache>
                      <c:ptCount val="1"/>
                      <c:pt idx="0">
                        <c:v>Bergen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I$2:$I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4.25</c:v>
                      </c:pt>
                      <c:pt idx="2">
                        <c:v>101.9</c:v>
                      </c:pt>
                      <c:pt idx="3">
                        <c:v>104.01</c:v>
                      </c:pt>
                      <c:pt idx="4">
                        <c:v>102.82</c:v>
                      </c:pt>
                      <c:pt idx="5">
                        <c:v>101.58</c:v>
                      </c:pt>
                      <c:pt idx="6">
                        <c:v>100.55</c:v>
                      </c:pt>
                      <c:pt idx="7">
                        <c:v>107.62</c:v>
                      </c:pt>
                      <c:pt idx="8">
                        <c:v>107.02</c:v>
                      </c:pt>
                      <c:pt idx="9">
                        <c:v>109.46</c:v>
                      </c:pt>
                      <c:pt idx="10">
                        <c:v>110.83</c:v>
                      </c:pt>
                      <c:pt idx="11">
                        <c:v>113.85</c:v>
                      </c:pt>
                      <c:pt idx="12">
                        <c:v>117.77</c:v>
                      </c:pt>
                      <c:pt idx="13">
                        <c:v>121.22</c:v>
                      </c:pt>
                      <c:pt idx="14">
                        <c:v>123.22</c:v>
                      </c:pt>
                      <c:pt idx="15">
                        <c:v>121.38</c:v>
                      </c:pt>
                      <c:pt idx="16">
                        <c:v>124.08</c:v>
                      </c:pt>
                      <c:pt idx="17">
                        <c:v>123.95</c:v>
                      </c:pt>
                      <c:pt idx="18">
                        <c:v>122.38</c:v>
                      </c:pt>
                      <c:pt idx="19">
                        <c:v>129.16</c:v>
                      </c:pt>
                      <c:pt idx="20">
                        <c:v>128.65</c:v>
                      </c:pt>
                      <c:pt idx="21">
                        <c:v>127.67</c:v>
                      </c:pt>
                      <c:pt idx="22">
                        <c:v>130.77000000000001</c:v>
                      </c:pt>
                      <c:pt idx="23">
                        <c:v>131.78</c:v>
                      </c:pt>
                      <c:pt idx="24">
                        <c:v>137.28</c:v>
                      </c:pt>
                      <c:pt idx="25">
                        <c:v>138.91</c:v>
                      </c:pt>
                      <c:pt idx="26">
                        <c:v>139.59</c:v>
                      </c:pt>
                      <c:pt idx="27">
                        <c:v>140.12</c:v>
                      </c:pt>
                      <c:pt idx="28">
                        <c:v>137.86000000000001</c:v>
                      </c:pt>
                      <c:pt idx="29">
                        <c:v>138.61000000000001</c:v>
                      </c:pt>
                      <c:pt idx="30">
                        <c:v>138.93</c:v>
                      </c:pt>
                      <c:pt idx="31">
                        <c:v>142.06</c:v>
                      </c:pt>
                      <c:pt idx="32">
                        <c:v>142.37</c:v>
                      </c:pt>
                      <c:pt idx="33">
                        <c:v>141.31</c:v>
                      </c:pt>
                      <c:pt idx="34">
                        <c:v>142.4</c:v>
                      </c:pt>
                      <c:pt idx="35">
                        <c:v>147.31</c:v>
                      </c:pt>
                      <c:pt idx="36">
                        <c:v>150.53</c:v>
                      </c:pt>
                      <c:pt idx="37">
                        <c:v>150.38999999999999</c:v>
                      </c:pt>
                      <c:pt idx="38">
                        <c:v>155.88999999999999</c:v>
                      </c:pt>
                      <c:pt idx="39">
                        <c:v>158.21</c:v>
                      </c:pt>
                      <c:pt idx="40">
                        <c:v>160.22</c:v>
                      </c:pt>
                      <c:pt idx="41">
                        <c:v>159.36000000000001</c:v>
                      </c:pt>
                      <c:pt idx="42">
                        <c:v>156.09</c:v>
                      </c:pt>
                      <c:pt idx="43">
                        <c:v>167.63</c:v>
                      </c:pt>
                      <c:pt idx="44">
                        <c:v>169.17</c:v>
                      </c:pt>
                      <c:pt idx="45">
                        <c:v>170.99</c:v>
                      </c:pt>
                      <c:pt idx="46">
                        <c:v>170.77</c:v>
                      </c:pt>
                      <c:pt idx="47">
                        <c:v>170.61</c:v>
                      </c:pt>
                      <c:pt idx="48">
                        <c:v>178.85</c:v>
                      </c:pt>
                      <c:pt idx="49">
                        <c:v>183.07</c:v>
                      </c:pt>
                      <c:pt idx="50">
                        <c:v>180.22</c:v>
                      </c:pt>
                      <c:pt idx="51">
                        <c:v>180.95</c:v>
                      </c:pt>
                      <c:pt idx="52">
                        <c:v>178.44</c:v>
                      </c:pt>
                      <c:pt idx="53">
                        <c:v>178.43</c:v>
                      </c:pt>
                      <c:pt idx="54">
                        <c:v>182.3</c:v>
                      </c:pt>
                      <c:pt idx="55">
                        <c:v>177.32</c:v>
                      </c:pt>
                      <c:pt idx="56">
                        <c:v>175.31</c:v>
                      </c:pt>
                      <c:pt idx="57">
                        <c:v>172.33</c:v>
                      </c:pt>
                      <c:pt idx="58">
                        <c:v>169.08</c:v>
                      </c:pt>
                      <c:pt idx="59">
                        <c:v>167.77</c:v>
                      </c:pt>
                      <c:pt idx="60">
                        <c:v>172.6</c:v>
                      </c:pt>
                      <c:pt idx="61">
                        <c:v>173.48</c:v>
                      </c:pt>
                      <c:pt idx="62">
                        <c:v>174.6</c:v>
                      </c:pt>
                      <c:pt idx="63">
                        <c:v>174.45</c:v>
                      </c:pt>
                      <c:pt idx="64">
                        <c:v>171.55</c:v>
                      </c:pt>
                      <c:pt idx="65">
                        <c:v>168.54</c:v>
                      </c:pt>
                      <c:pt idx="66">
                        <c:v>162.97999999999999</c:v>
                      </c:pt>
                      <c:pt idx="67">
                        <c:v>163.05000000000001</c:v>
                      </c:pt>
                      <c:pt idx="68">
                        <c:v>159.62</c:v>
                      </c:pt>
                      <c:pt idx="69">
                        <c:v>152.19</c:v>
                      </c:pt>
                      <c:pt idx="70">
                        <c:v>148.88</c:v>
                      </c:pt>
                      <c:pt idx="71">
                        <c:v>147.63</c:v>
                      </c:pt>
                      <c:pt idx="72">
                        <c:v>152.54</c:v>
                      </c:pt>
                      <c:pt idx="73">
                        <c:v>156.88</c:v>
                      </c:pt>
                      <c:pt idx="74">
                        <c:v>159.74</c:v>
                      </c:pt>
                      <c:pt idx="75">
                        <c:v>160.84</c:v>
                      </c:pt>
                      <c:pt idx="76">
                        <c:v>165.91</c:v>
                      </c:pt>
                      <c:pt idx="77">
                        <c:v>165.84</c:v>
                      </c:pt>
                      <c:pt idx="78">
                        <c:v>169.08</c:v>
                      </c:pt>
                      <c:pt idx="79">
                        <c:v>172.95</c:v>
                      </c:pt>
                      <c:pt idx="80">
                        <c:v>171.76</c:v>
                      </c:pt>
                      <c:pt idx="81">
                        <c:v>170.48</c:v>
                      </c:pt>
                      <c:pt idx="82">
                        <c:v>171.25</c:v>
                      </c:pt>
                      <c:pt idx="83">
                        <c:v>171.2</c:v>
                      </c:pt>
                      <c:pt idx="84">
                        <c:v>175.54</c:v>
                      </c:pt>
                      <c:pt idx="85">
                        <c:v>178.03</c:v>
                      </c:pt>
                      <c:pt idx="86">
                        <c:v>182.09</c:v>
                      </c:pt>
                      <c:pt idx="87">
                        <c:v>182.81</c:v>
                      </c:pt>
                      <c:pt idx="88">
                        <c:v>181.67</c:v>
                      </c:pt>
                      <c:pt idx="89">
                        <c:v>183.64</c:v>
                      </c:pt>
                      <c:pt idx="90">
                        <c:v>185.59</c:v>
                      </c:pt>
                      <c:pt idx="91">
                        <c:v>187.11</c:v>
                      </c:pt>
                      <c:pt idx="92">
                        <c:v>186.48</c:v>
                      </c:pt>
                      <c:pt idx="93">
                        <c:v>187.8</c:v>
                      </c:pt>
                      <c:pt idx="94">
                        <c:v>189.49</c:v>
                      </c:pt>
                      <c:pt idx="95">
                        <c:v>185.59</c:v>
                      </c:pt>
                      <c:pt idx="96">
                        <c:v>194.81</c:v>
                      </c:pt>
                      <c:pt idx="97">
                        <c:v>197.8</c:v>
                      </c:pt>
                      <c:pt idx="98">
                        <c:v>201.21</c:v>
                      </c:pt>
                      <c:pt idx="99">
                        <c:v>200.44</c:v>
                      </c:pt>
                      <c:pt idx="100">
                        <c:v>200.78</c:v>
                      </c:pt>
                      <c:pt idx="101">
                        <c:v>197.32</c:v>
                      </c:pt>
                      <c:pt idx="102">
                        <c:v>200.07</c:v>
                      </c:pt>
                      <c:pt idx="103">
                        <c:v>203.37</c:v>
                      </c:pt>
                      <c:pt idx="104">
                        <c:v>201.26</c:v>
                      </c:pt>
                      <c:pt idx="105">
                        <c:v>203.67</c:v>
                      </c:pt>
                      <c:pt idx="106">
                        <c:v>202.15</c:v>
                      </c:pt>
                      <c:pt idx="107">
                        <c:v>200.82</c:v>
                      </c:pt>
                      <c:pt idx="108">
                        <c:v>209.85</c:v>
                      </c:pt>
                      <c:pt idx="109">
                        <c:v>209.63</c:v>
                      </c:pt>
                      <c:pt idx="110">
                        <c:v>213.11</c:v>
                      </c:pt>
                      <c:pt idx="111">
                        <c:v>213.3</c:v>
                      </c:pt>
                      <c:pt idx="112">
                        <c:v>214.16</c:v>
                      </c:pt>
                      <c:pt idx="113">
                        <c:v>211.43</c:v>
                      </c:pt>
                      <c:pt idx="114">
                        <c:v>216.78</c:v>
                      </c:pt>
                      <c:pt idx="115">
                        <c:v>213.51</c:v>
                      </c:pt>
                      <c:pt idx="116">
                        <c:v>214.77</c:v>
                      </c:pt>
                      <c:pt idx="117">
                        <c:v>214.13</c:v>
                      </c:pt>
                      <c:pt idx="118">
                        <c:v>216.78</c:v>
                      </c:pt>
                      <c:pt idx="119">
                        <c:v>216.74</c:v>
                      </c:pt>
                      <c:pt idx="120">
                        <c:v>222.81</c:v>
                      </c:pt>
                      <c:pt idx="121">
                        <c:v>228.5</c:v>
                      </c:pt>
                      <c:pt idx="122">
                        <c:v>226.04</c:v>
                      </c:pt>
                      <c:pt idx="123">
                        <c:v>232.23</c:v>
                      </c:pt>
                      <c:pt idx="124">
                        <c:v>234.71</c:v>
                      </c:pt>
                      <c:pt idx="125">
                        <c:v>229.78</c:v>
                      </c:pt>
                      <c:pt idx="126">
                        <c:v>230.87</c:v>
                      </c:pt>
                      <c:pt idx="127">
                        <c:v>232.23</c:v>
                      </c:pt>
                      <c:pt idx="128">
                        <c:v>227.98</c:v>
                      </c:pt>
                      <c:pt idx="129">
                        <c:v>226.41</c:v>
                      </c:pt>
                      <c:pt idx="130">
                        <c:v>221.28</c:v>
                      </c:pt>
                      <c:pt idx="131">
                        <c:v>218.26</c:v>
                      </c:pt>
                      <c:pt idx="132">
                        <c:v>227.71</c:v>
                      </c:pt>
                      <c:pt idx="133">
                        <c:v>227.67</c:v>
                      </c:pt>
                      <c:pt idx="134">
                        <c:v>233.83</c:v>
                      </c:pt>
                      <c:pt idx="135">
                        <c:v>236.6</c:v>
                      </c:pt>
                      <c:pt idx="136">
                        <c:v>237.25</c:v>
                      </c:pt>
                      <c:pt idx="137">
                        <c:v>234.8</c:v>
                      </c:pt>
                      <c:pt idx="138">
                        <c:v>237.95</c:v>
                      </c:pt>
                      <c:pt idx="139">
                        <c:v>238.07</c:v>
                      </c:pt>
                      <c:pt idx="140">
                        <c:v>237.84</c:v>
                      </c:pt>
                      <c:pt idx="141">
                        <c:v>239.77</c:v>
                      </c:pt>
                      <c:pt idx="142">
                        <c:v>239.64</c:v>
                      </c:pt>
                      <c:pt idx="143">
                        <c:v>242.54</c:v>
                      </c:pt>
                      <c:pt idx="144">
                        <c:v>251.6</c:v>
                      </c:pt>
                      <c:pt idx="145">
                        <c:v>254.04</c:v>
                      </c:pt>
                      <c:pt idx="146">
                        <c:v>258.29000000000002</c:v>
                      </c:pt>
                      <c:pt idx="147">
                        <c:v>260.23</c:v>
                      </c:pt>
                      <c:pt idx="148">
                        <c:v>257.98</c:v>
                      </c:pt>
                      <c:pt idx="149">
                        <c:v>259.35000000000002</c:v>
                      </c:pt>
                      <c:pt idx="150">
                        <c:v>262.42</c:v>
                      </c:pt>
                      <c:pt idx="151">
                        <c:v>260.38</c:v>
                      </c:pt>
                      <c:pt idx="152">
                        <c:v>256</c:v>
                      </c:pt>
                      <c:pt idx="153">
                        <c:v>251.6</c:v>
                      </c:pt>
                      <c:pt idx="154">
                        <c:v>246.67</c:v>
                      </c:pt>
                      <c:pt idx="155">
                        <c:v>245.38</c:v>
                      </c:pt>
                      <c:pt idx="156">
                        <c:v>256.27999999999997</c:v>
                      </c:pt>
                      <c:pt idx="157">
                        <c:v>252.35</c:v>
                      </c:pt>
                      <c:pt idx="158">
                        <c:v>253.4</c:v>
                      </c:pt>
                      <c:pt idx="159">
                        <c:v>258.01</c:v>
                      </c:pt>
                      <c:pt idx="160">
                        <c:v>257.5</c:v>
                      </c:pt>
                      <c:pt idx="161">
                        <c:v>255.1</c:v>
                      </c:pt>
                      <c:pt idx="162">
                        <c:v>261.27999999999997</c:v>
                      </c:pt>
                      <c:pt idx="163">
                        <c:v>259.37</c:v>
                      </c:pt>
                      <c:pt idx="164">
                        <c:v>255.64</c:v>
                      </c:pt>
                      <c:pt idx="165">
                        <c:v>252.86</c:v>
                      </c:pt>
                      <c:pt idx="166">
                        <c:v>255.51</c:v>
                      </c:pt>
                      <c:pt idx="167">
                        <c:v>247.85</c:v>
                      </c:pt>
                      <c:pt idx="168">
                        <c:v>263.79000000000002</c:v>
                      </c:pt>
                      <c:pt idx="169">
                        <c:v>266.17</c:v>
                      </c:pt>
                      <c:pt idx="170">
                        <c:v>266.79000000000002</c:v>
                      </c:pt>
                      <c:pt idx="171">
                        <c:v>272.75</c:v>
                      </c:pt>
                      <c:pt idx="172">
                        <c:v>269.98</c:v>
                      </c:pt>
                      <c:pt idx="173">
                        <c:v>264.76</c:v>
                      </c:pt>
                      <c:pt idx="174">
                        <c:v>267.45</c:v>
                      </c:pt>
                      <c:pt idx="175">
                        <c:v>267.51</c:v>
                      </c:pt>
                      <c:pt idx="176">
                        <c:v>259.69</c:v>
                      </c:pt>
                      <c:pt idx="177">
                        <c:v>258.83999999999997</c:v>
                      </c:pt>
                      <c:pt idx="178">
                        <c:v>254.44</c:v>
                      </c:pt>
                      <c:pt idx="179">
                        <c:v>247.74</c:v>
                      </c:pt>
                      <c:pt idx="180">
                        <c:v>257.29000000000002</c:v>
                      </c:pt>
                      <c:pt idx="181">
                        <c:v>258.54000000000002</c:v>
                      </c:pt>
                      <c:pt idx="182">
                        <c:v>258.14</c:v>
                      </c:pt>
                      <c:pt idx="183">
                        <c:v>265.35000000000002</c:v>
                      </c:pt>
                      <c:pt idx="184">
                        <c:v>267</c:v>
                      </c:pt>
                      <c:pt idx="185">
                        <c:v>266.39999999999998</c:v>
                      </c:pt>
                      <c:pt idx="186">
                        <c:v>268.55</c:v>
                      </c:pt>
                      <c:pt idx="187">
                        <c:v>266.06</c:v>
                      </c:pt>
                      <c:pt idx="188">
                        <c:v>262.64999999999998</c:v>
                      </c:pt>
                      <c:pt idx="189">
                        <c:v>259.2</c:v>
                      </c:pt>
                      <c:pt idx="190">
                        <c:v>253.68</c:v>
                      </c:pt>
                      <c:pt idx="191">
                        <c:v>252.57</c:v>
                      </c:pt>
                      <c:pt idx="192">
                        <c:v>266.02999999999997</c:v>
                      </c:pt>
                      <c:pt idx="193">
                        <c:v>260.93</c:v>
                      </c:pt>
                      <c:pt idx="194">
                        <c:v>265.52999999999997</c:v>
                      </c:pt>
                      <c:pt idx="195">
                        <c:v>268.08</c:v>
                      </c:pt>
                      <c:pt idx="196">
                        <c:v>270.36</c:v>
                      </c:pt>
                      <c:pt idx="197">
                        <c:v>267.24</c:v>
                      </c:pt>
                      <c:pt idx="198">
                        <c:v>270.79000000000002</c:v>
                      </c:pt>
                      <c:pt idx="199">
                        <c:v>270.35000000000002</c:v>
                      </c:pt>
                      <c:pt idx="200">
                        <c:v>265.54000000000002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J$1</c15:sqref>
                        </c15:formulaRef>
                      </c:ext>
                    </c:extLst>
                    <c:strCache>
                      <c:ptCount val="1"/>
                      <c:pt idx="0">
                        <c:v>Vestlandet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J$2:$J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4.22</c:v>
                      </c:pt>
                      <c:pt idx="2">
                        <c:v>101.89</c:v>
                      </c:pt>
                      <c:pt idx="3">
                        <c:v>103.94</c:v>
                      </c:pt>
                      <c:pt idx="4">
                        <c:v>102.62</c:v>
                      </c:pt>
                      <c:pt idx="5">
                        <c:v>101.26</c:v>
                      </c:pt>
                      <c:pt idx="6">
                        <c:v>100.21</c:v>
                      </c:pt>
                      <c:pt idx="7">
                        <c:v>107.18</c:v>
                      </c:pt>
                      <c:pt idx="8">
                        <c:v>106.51</c:v>
                      </c:pt>
                      <c:pt idx="9">
                        <c:v>108.77</c:v>
                      </c:pt>
                      <c:pt idx="10">
                        <c:v>110.12</c:v>
                      </c:pt>
                      <c:pt idx="11">
                        <c:v>113.07</c:v>
                      </c:pt>
                      <c:pt idx="12">
                        <c:v>116.84</c:v>
                      </c:pt>
                      <c:pt idx="13">
                        <c:v>120.09</c:v>
                      </c:pt>
                      <c:pt idx="14">
                        <c:v>121.91</c:v>
                      </c:pt>
                      <c:pt idx="15">
                        <c:v>119.99</c:v>
                      </c:pt>
                      <c:pt idx="16">
                        <c:v>122.58</c:v>
                      </c:pt>
                      <c:pt idx="17">
                        <c:v>122.54</c:v>
                      </c:pt>
                      <c:pt idx="18">
                        <c:v>120.93</c:v>
                      </c:pt>
                      <c:pt idx="19">
                        <c:v>127.53</c:v>
                      </c:pt>
                      <c:pt idx="20">
                        <c:v>127.01</c:v>
                      </c:pt>
                      <c:pt idx="21">
                        <c:v>126.09</c:v>
                      </c:pt>
                      <c:pt idx="22">
                        <c:v>129.19999999999999</c:v>
                      </c:pt>
                      <c:pt idx="23">
                        <c:v>130.1</c:v>
                      </c:pt>
                      <c:pt idx="24">
                        <c:v>135.53</c:v>
                      </c:pt>
                      <c:pt idx="25">
                        <c:v>136.99</c:v>
                      </c:pt>
                      <c:pt idx="26">
                        <c:v>137.51</c:v>
                      </c:pt>
                      <c:pt idx="27">
                        <c:v>138</c:v>
                      </c:pt>
                      <c:pt idx="28">
                        <c:v>135.87</c:v>
                      </c:pt>
                      <c:pt idx="29">
                        <c:v>136.58000000000001</c:v>
                      </c:pt>
                      <c:pt idx="30">
                        <c:v>136.88</c:v>
                      </c:pt>
                      <c:pt idx="31">
                        <c:v>140.01</c:v>
                      </c:pt>
                      <c:pt idx="32">
                        <c:v>140.34</c:v>
                      </c:pt>
                      <c:pt idx="33">
                        <c:v>139.32</c:v>
                      </c:pt>
                      <c:pt idx="34">
                        <c:v>140.38</c:v>
                      </c:pt>
                      <c:pt idx="35">
                        <c:v>145.24</c:v>
                      </c:pt>
                      <c:pt idx="36">
                        <c:v>148.38</c:v>
                      </c:pt>
                      <c:pt idx="37">
                        <c:v>148.35</c:v>
                      </c:pt>
                      <c:pt idx="38">
                        <c:v>153.91999999999999</c:v>
                      </c:pt>
                      <c:pt idx="39">
                        <c:v>156.25</c:v>
                      </c:pt>
                      <c:pt idx="40">
                        <c:v>158.1</c:v>
                      </c:pt>
                      <c:pt idx="41">
                        <c:v>157.35</c:v>
                      </c:pt>
                      <c:pt idx="42">
                        <c:v>154.16</c:v>
                      </c:pt>
                      <c:pt idx="43">
                        <c:v>165.34</c:v>
                      </c:pt>
                      <c:pt idx="44">
                        <c:v>166.79</c:v>
                      </c:pt>
                      <c:pt idx="45">
                        <c:v>168.46</c:v>
                      </c:pt>
                      <c:pt idx="46">
                        <c:v>168.23</c:v>
                      </c:pt>
                      <c:pt idx="47">
                        <c:v>168.14</c:v>
                      </c:pt>
                      <c:pt idx="48">
                        <c:v>176.32</c:v>
                      </c:pt>
                      <c:pt idx="49">
                        <c:v>180.56</c:v>
                      </c:pt>
                      <c:pt idx="50">
                        <c:v>177.84</c:v>
                      </c:pt>
                      <c:pt idx="51">
                        <c:v>178.78</c:v>
                      </c:pt>
                      <c:pt idx="52">
                        <c:v>176.44</c:v>
                      </c:pt>
                      <c:pt idx="53">
                        <c:v>176.44</c:v>
                      </c:pt>
                      <c:pt idx="54">
                        <c:v>180.27</c:v>
                      </c:pt>
                      <c:pt idx="55">
                        <c:v>175.68</c:v>
                      </c:pt>
                      <c:pt idx="56">
                        <c:v>173.91</c:v>
                      </c:pt>
                      <c:pt idx="57">
                        <c:v>171.11</c:v>
                      </c:pt>
                      <c:pt idx="58">
                        <c:v>168.03</c:v>
                      </c:pt>
                      <c:pt idx="59">
                        <c:v>166.85</c:v>
                      </c:pt>
                      <c:pt idx="60">
                        <c:v>171.77</c:v>
                      </c:pt>
                      <c:pt idx="61">
                        <c:v>172.88</c:v>
                      </c:pt>
                      <c:pt idx="62">
                        <c:v>174.31</c:v>
                      </c:pt>
                      <c:pt idx="63">
                        <c:v>174.26</c:v>
                      </c:pt>
                      <c:pt idx="64">
                        <c:v>171.65</c:v>
                      </c:pt>
                      <c:pt idx="65">
                        <c:v>168.95</c:v>
                      </c:pt>
                      <c:pt idx="66">
                        <c:v>163.62</c:v>
                      </c:pt>
                      <c:pt idx="67">
                        <c:v>163.88</c:v>
                      </c:pt>
                      <c:pt idx="68">
                        <c:v>160.62</c:v>
                      </c:pt>
                      <c:pt idx="69">
                        <c:v>153.30000000000001</c:v>
                      </c:pt>
                      <c:pt idx="70">
                        <c:v>150.15</c:v>
                      </c:pt>
                      <c:pt idx="71">
                        <c:v>149.01</c:v>
                      </c:pt>
                      <c:pt idx="72">
                        <c:v>154.08000000000001</c:v>
                      </c:pt>
                      <c:pt idx="73">
                        <c:v>158.51</c:v>
                      </c:pt>
                      <c:pt idx="74">
                        <c:v>161.41</c:v>
                      </c:pt>
                      <c:pt idx="75">
                        <c:v>162.74</c:v>
                      </c:pt>
                      <c:pt idx="76">
                        <c:v>167.97</c:v>
                      </c:pt>
                      <c:pt idx="77">
                        <c:v>168.1</c:v>
                      </c:pt>
                      <c:pt idx="78">
                        <c:v>171.42</c:v>
                      </c:pt>
                      <c:pt idx="79">
                        <c:v>175.29</c:v>
                      </c:pt>
                      <c:pt idx="80">
                        <c:v>174.04</c:v>
                      </c:pt>
                      <c:pt idx="81">
                        <c:v>172.63</c:v>
                      </c:pt>
                      <c:pt idx="82">
                        <c:v>173.26</c:v>
                      </c:pt>
                      <c:pt idx="83">
                        <c:v>173.14</c:v>
                      </c:pt>
                      <c:pt idx="84">
                        <c:v>177.48</c:v>
                      </c:pt>
                      <c:pt idx="85">
                        <c:v>179.94</c:v>
                      </c:pt>
                      <c:pt idx="86">
                        <c:v>184.15</c:v>
                      </c:pt>
                      <c:pt idx="87">
                        <c:v>184.55</c:v>
                      </c:pt>
                      <c:pt idx="88">
                        <c:v>183.23</c:v>
                      </c:pt>
                      <c:pt idx="89">
                        <c:v>185.01</c:v>
                      </c:pt>
                      <c:pt idx="90">
                        <c:v>186.8</c:v>
                      </c:pt>
                      <c:pt idx="91">
                        <c:v>188.16</c:v>
                      </c:pt>
                      <c:pt idx="92">
                        <c:v>187.38</c:v>
                      </c:pt>
                      <c:pt idx="93">
                        <c:v>188.57</c:v>
                      </c:pt>
                      <c:pt idx="94">
                        <c:v>190.19</c:v>
                      </c:pt>
                      <c:pt idx="95">
                        <c:v>186.2</c:v>
                      </c:pt>
                      <c:pt idx="96">
                        <c:v>195.11</c:v>
                      </c:pt>
                      <c:pt idx="97">
                        <c:v>197.98</c:v>
                      </c:pt>
                      <c:pt idx="98">
                        <c:v>201.05</c:v>
                      </c:pt>
                      <c:pt idx="99">
                        <c:v>200.21</c:v>
                      </c:pt>
                      <c:pt idx="100">
                        <c:v>200.46</c:v>
                      </c:pt>
                      <c:pt idx="101">
                        <c:v>196.85</c:v>
                      </c:pt>
                      <c:pt idx="102">
                        <c:v>199.45</c:v>
                      </c:pt>
                      <c:pt idx="103">
                        <c:v>202.86</c:v>
                      </c:pt>
                      <c:pt idx="104">
                        <c:v>200.8</c:v>
                      </c:pt>
                      <c:pt idx="105">
                        <c:v>203.27</c:v>
                      </c:pt>
                      <c:pt idx="106">
                        <c:v>201.84</c:v>
                      </c:pt>
                      <c:pt idx="107">
                        <c:v>200.42</c:v>
                      </c:pt>
                      <c:pt idx="108">
                        <c:v>209.36</c:v>
                      </c:pt>
                      <c:pt idx="109">
                        <c:v>209.09</c:v>
                      </c:pt>
                      <c:pt idx="110">
                        <c:v>212.52</c:v>
                      </c:pt>
                      <c:pt idx="111">
                        <c:v>212.67</c:v>
                      </c:pt>
                      <c:pt idx="112">
                        <c:v>213.22</c:v>
                      </c:pt>
                      <c:pt idx="113">
                        <c:v>210.44</c:v>
                      </c:pt>
                      <c:pt idx="114">
                        <c:v>215.76</c:v>
                      </c:pt>
                      <c:pt idx="115">
                        <c:v>212.13</c:v>
                      </c:pt>
                      <c:pt idx="116">
                        <c:v>213.27</c:v>
                      </c:pt>
                      <c:pt idx="117">
                        <c:v>212.46</c:v>
                      </c:pt>
                      <c:pt idx="118">
                        <c:v>214.84</c:v>
                      </c:pt>
                      <c:pt idx="119">
                        <c:v>214.96</c:v>
                      </c:pt>
                      <c:pt idx="120">
                        <c:v>220.78</c:v>
                      </c:pt>
                      <c:pt idx="121">
                        <c:v>226.16</c:v>
                      </c:pt>
                      <c:pt idx="122">
                        <c:v>223.46</c:v>
                      </c:pt>
                      <c:pt idx="123">
                        <c:v>229.47</c:v>
                      </c:pt>
                      <c:pt idx="124">
                        <c:v>231.88</c:v>
                      </c:pt>
                      <c:pt idx="125">
                        <c:v>226.78</c:v>
                      </c:pt>
                      <c:pt idx="126">
                        <c:v>227.74</c:v>
                      </c:pt>
                      <c:pt idx="127">
                        <c:v>228.93</c:v>
                      </c:pt>
                      <c:pt idx="128">
                        <c:v>224.8</c:v>
                      </c:pt>
                      <c:pt idx="129">
                        <c:v>223.27</c:v>
                      </c:pt>
                      <c:pt idx="130">
                        <c:v>218.32</c:v>
                      </c:pt>
                      <c:pt idx="131">
                        <c:v>215.26</c:v>
                      </c:pt>
                      <c:pt idx="132">
                        <c:v>224.66</c:v>
                      </c:pt>
                      <c:pt idx="133">
                        <c:v>224.76</c:v>
                      </c:pt>
                      <c:pt idx="134">
                        <c:v>230.92</c:v>
                      </c:pt>
                      <c:pt idx="135">
                        <c:v>233.68</c:v>
                      </c:pt>
                      <c:pt idx="136">
                        <c:v>234.29</c:v>
                      </c:pt>
                      <c:pt idx="137">
                        <c:v>232.02</c:v>
                      </c:pt>
                      <c:pt idx="138">
                        <c:v>235.14</c:v>
                      </c:pt>
                      <c:pt idx="139">
                        <c:v>235.27</c:v>
                      </c:pt>
                      <c:pt idx="140">
                        <c:v>234.75</c:v>
                      </c:pt>
                      <c:pt idx="141">
                        <c:v>236.35</c:v>
                      </c:pt>
                      <c:pt idx="142">
                        <c:v>235.87</c:v>
                      </c:pt>
                      <c:pt idx="143">
                        <c:v>238.53</c:v>
                      </c:pt>
                      <c:pt idx="144">
                        <c:v>247.22</c:v>
                      </c:pt>
                      <c:pt idx="145">
                        <c:v>249.34</c:v>
                      </c:pt>
                      <c:pt idx="146">
                        <c:v>253.14</c:v>
                      </c:pt>
                      <c:pt idx="147">
                        <c:v>254.75</c:v>
                      </c:pt>
                      <c:pt idx="148">
                        <c:v>252.24</c:v>
                      </c:pt>
                      <c:pt idx="149">
                        <c:v>253.37</c:v>
                      </c:pt>
                      <c:pt idx="150">
                        <c:v>256.08</c:v>
                      </c:pt>
                      <c:pt idx="151">
                        <c:v>253.94</c:v>
                      </c:pt>
                      <c:pt idx="152">
                        <c:v>249.63</c:v>
                      </c:pt>
                      <c:pt idx="153">
                        <c:v>245.53</c:v>
                      </c:pt>
                      <c:pt idx="154">
                        <c:v>240.89</c:v>
                      </c:pt>
                      <c:pt idx="155">
                        <c:v>239.73</c:v>
                      </c:pt>
                      <c:pt idx="156">
                        <c:v>250.64</c:v>
                      </c:pt>
                      <c:pt idx="157">
                        <c:v>247.07</c:v>
                      </c:pt>
                      <c:pt idx="158">
                        <c:v>248.54</c:v>
                      </c:pt>
                      <c:pt idx="159">
                        <c:v>253.2</c:v>
                      </c:pt>
                      <c:pt idx="160">
                        <c:v>253</c:v>
                      </c:pt>
                      <c:pt idx="161">
                        <c:v>250.68</c:v>
                      </c:pt>
                      <c:pt idx="162">
                        <c:v>256.89</c:v>
                      </c:pt>
                      <c:pt idx="163">
                        <c:v>255.16</c:v>
                      </c:pt>
                      <c:pt idx="164">
                        <c:v>251.73</c:v>
                      </c:pt>
                      <c:pt idx="165">
                        <c:v>249.17</c:v>
                      </c:pt>
                      <c:pt idx="166">
                        <c:v>251.61</c:v>
                      </c:pt>
                      <c:pt idx="167">
                        <c:v>244.13</c:v>
                      </c:pt>
                      <c:pt idx="168">
                        <c:v>259.67</c:v>
                      </c:pt>
                      <c:pt idx="169">
                        <c:v>261.82</c:v>
                      </c:pt>
                      <c:pt idx="170">
                        <c:v>262.24</c:v>
                      </c:pt>
                      <c:pt idx="171">
                        <c:v>268.07</c:v>
                      </c:pt>
                      <c:pt idx="172">
                        <c:v>265.19</c:v>
                      </c:pt>
                      <c:pt idx="173">
                        <c:v>260.11</c:v>
                      </c:pt>
                      <c:pt idx="174">
                        <c:v>262.76</c:v>
                      </c:pt>
                      <c:pt idx="175">
                        <c:v>262.82</c:v>
                      </c:pt>
                      <c:pt idx="176">
                        <c:v>255.35</c:v>
                      </c:pt>
                      <c:pt idx="177">
                        <c:v>254.44</c:v>
                      </c:pt>
                      <c:pt idx="178">
                        <c:v>250.56</c:v>
                      </c:pt>
                      <c:pt idx="179">
                        <c:v>244.1</c:v>
                      </c:pt>
                      <c:pt idx="180">
                        <c:v>253.65</c:v>
                      </c:pt>
                      <c:pt idx="181">
                        <c:v>254.92</c:v>
                      </c:pt>
                      <c:pt idx="182">
                        <c:v>254.65</c:v>
                      </c:pt>
                      <c:pt idx="183">
                        <c:v>261.79000000000002</c:v>
                      </c:pt>
                      <c:pt idx="184">
                        <c:v>263.61</c:v>
                      </c:pt>
                      <c:pt idx="185">
                        <c:v>263.22000000000003</c:v>
                      </c:pt>
                      <c:pt idx="186">
                        <c:v>265.41000000000003</c:v>
                      </c:pt>
                      <c:pt idx="187">
                        <c:v>263.07</c:v>
                      </c:pt>
                      <c:pt idx="188">
                        <c:v>259.48</c:v>
                      </c:pt>
                      <c:pt idx="189">
                        <c:v>256.27999999999997</c:v>
                      </c:pt>
                      <c:pt idx="190">
                        <c:v>250.83</c:v>
                      </c:pt>
                      <c:pt idx="191">
                        <c:v>249.72</c:v>
                      </c:pt>
                      <c:pt idx="192">
                        <c:v>263.11</c:v>
                      </c:pt>
                      <c:pt idx="193">
                        <c:v>258.14999999999998</c:v>
                      </c:pt>
                      <c:pt idx="194">
                        <c:v>262.57</c:v>
                      </c:pt>
                      <c:pt idx="195">
                        <c:v>264.89999999999998</c:v>
                      </c:pt>
                      <c:pt idx="196">
                        <c:v>267.04000000000002</c:v>
                      </c:pt>
                      <c:pt idx="197">
                        <c:v>263.77999999999997</c:v>
                      </c:pt>
                      <c:pt idx="198">
                        <c:v>267.3</c:v>
                      </c:pt>
                      <c:pt idx="199">
                        <c:v>267.08</c:v>
                      </c:pt>
                      <c:pt idx="200">
                        <c:v>262.10000000000002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K$1</c15:sqref>
                        </c15:formulaRef>
                      </c:ext>
                    </c:extLst>
                    <c:strCache>
                      <c:ptCount val="1"/>
                      <c:pt idx="0">
                        <c:v>Bodø m/Fauske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K$2:$K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4.39</c:v>
                      </c:pt>
                      <c:pt idx="2">
                        <c:v>103.9</c:v>
                      </c:pt>
                      <c:pt idx="3">
                        <c:v>105.43</c:v>
                      </c:pt>
                      <c:pt idx="4">
                        <c:v>104.35</c:v>
                      </c:pt>
                      <c:pt idx="5">
                        <c:v>104.55</c:v>
                      </c:pt>
                      <c:pt idx="6">
                        <c:v>105.81</c:v>
                      </c:pt>
                      <c:pt idx="7">
                        <c:v>107.34</c:v>
                      </c:pt>
                      <c:pt idx="8">
                        <c:v>105.94</c:v>
                      </c:pt>
                      <c:pt idx="9">
                        <c:v>108.43</c:v>
                      </c:pt>
                      <c:pt idx="10">
                        <c:v>108.12</c:v>
                      </c:pt>
                      <c:pt idx="11">
                        <c:v>106.81</c:v>
                      </c:pt>
                      <c:pt idx="12">
                        <c:v>111.68</c:v>
                      </c:pt>
                      <c:pt idx="13">
                        <c:v>112.66</c:v>
                      </c:pt>
                      <c:pt idx="14">
                        <c:v>113.17</c:v>
                      </c:pt>
                      <c:pt idx="15">
                        <c:v>115.48</c:v>
                      </c:pt>
                      <c:pt idx="16">
                        <c:v>114.81</c:v>
                      </c:pt>
                      <c:pt idx="17">
                        <c:v>114.08</c:v>
                      </c:pt>
                      <c:pt idx="18">
                        <c:v>113.89</c:v>
                      </c:pt>
                      <c:pt idx="19">
                        <c:v>117.57</c:v>
                      </c:pt>
                      <c:pt idx="20">
                        <c:v>117.06</c:v>
                      </c:pt>
                      <c:pt idx="21">
                        <c:v>116.94</c:v>
                      </c:pt>
                      <c:pt idx="22">
                        <c:v>117.84</c:v>
                      </c:pt>
                      <c:pt idx="23">
                        <c:v>116.4</c:v>
                      </c:pt>
                      <c:pt idx="24">
                        <c:v>120.67</c:v>
                      </c:pt>
                      <c:pt idx="25">
                        <c:v>119.76</c:v>
                      </c:pt>
                      <c:pt idx="26">
                        <c:v>125.31</c:v>
                      </c:pt>
                      <c:pt idx="27">
                        <c:v>124.89</c:v>
                      </c:pt>
                      <c:pt idx="28">
                        <c:v>124.69</c:v>
                      </c:pt>
                      <c:pt idx="29">
                        <c:v>122.6</c:v>
                      </c:pt>
                      <c:pt idx="30">
                        <c:v>124.84</c:v>
                      </c:pt>
                      <c:pt idx="31">
                        <c:v>129.19</c:v>
                      </c:pt>
                      <c:pt idx="32">
                        <c:v>127.68</c:v>
                      </c:pt>
                      <c:pt idx="33">
                        <c:v>128.41999999999999</c:v>
                      </c:pt>
                      <c:pt idx="34">
                        <c:v>128.74</c:v>
                      </c:pt>
                      <c:pt idx="35">
                        <c:v>129.41999999999999</c:v>
                      </c:pt>
                      <c:pt idx="36">
                        <c:v>134.15</c:v>
                      </c:pt>
                      <c:pt idx="37">
                        <c:v>137.44</c:v>
                      </c:pt>
                      <c:pt idx="38">
                        <c:v>139.35</c:v>
                      </c:pt>
                      <c:pt idx="39">
                        <c:v>140.96</c:v>
                      </c:pt>
                      <c:pt idx="40">
                        <c:v>146.07</c:v>
                      </c:pt>
                      <c:pt idx="41">
                        <c:v>146.11000000000001</c:v>
                      </c:pt>
                      <c:pt idx="42">
                        <c:v>145.26</c:v>
                      </c:pt>
                      <c:pt idx="43">
                        <c:v>152.5</c:v>
                      </c:pt>
                      <c:pt idx="44">
                        <c:v>153.58000000000001</c:v>
                      </c:pt>
                      <c:pt idx="45">
                        <c:v>153.33000000000001</c:v>
                      </c:pt>
                      <c:pt idx="46">
                        <c:v>156.19</c:v>
                      </c:pt>
                      <c:pt idx="47">
                        <c:v>154.72</c:v>
                      </c:pt>
                      <c:pt idx="48">
                        <c:v>162.41999999999999</c:v>
                      </c:pt>
                      <c:pt idx="49">
                        <c:v>162.56</c:v>
                      </c:pt>
                      <c:pt idx="50">
                        <c:v>167.49</c:v>
                      </c:pt>
                      <c:pt idx="51">
                        <c:v>169.04</c:v>
                      </c:pt>
                      <c:pt idx="52">
                        <c:v>170.3</c:v>
                      </c:pt>
                      <c:pt idx="53">
                        <c:v>170.56</c:v>
                      </c:pt>
                      <c:pt idx="54">
                        <c:v>168.96</c:v>
                      </c:pt>
                      <c:pt idx="55">
                        <c:v>171.28</c:v>
                      </c:pt>
                      <c:pt idx="56">
                        <c:v>169.72</c:v>
                      </c:pt>
                      <c:pt idx="57">
                        <c:v>170.24</c:v>
                      </c:pt>
                      <c:pt idx="58">
                        <c:v>168.58</c:v>
                      </c:pt>
                      <c:pt idx="59">
                        <c:v>165.91</c:v>
                      </c:pt>
                      <c:pt idx="60">
                        <c:v>170.27</c:v>
                      </c:pt>
                      <c:pt idx="61">
                        <c:v>173.48</c:v>
                      </c:pt>
                      <c:pt idx="62">
                        <c:v>172.75</c:v>
                      </c:pt>
                      <c:pt idx="63">
                        <c:v>173.13</c:v>
                      </c:pt>
                      <c:pt idx="64">
                        <c:v>172.14</c:v>
                      </c:pt>
                      <c:pt idx="65">
                        <c:v>169.94</c:v>
                      </c:pt>
                      <c:pt idx="66">
                        <c:v>168.38</c:v>
                      </c:pt>
                      <c:pt idx="67">
                        <c:v>166.4</c:v>
                      </c:pt>
                      <c:pt idx="68">
                        <c:v>163.49</c:v>
                      </c:pt>
                      <c:pt idx="69">
                        <c:v>157.29</c:v>
                      </c:pt>
                      <c:pt idx="70">
                        <c:v>152.94</c:v>
                      </c:pt>
                      <c:pt idx="71">
                        <c:v>153.59</c:v>
                      </c:pt>
                      <c:pt idx="72">
                        <c:v>156.12</c:v>
                      </c:pt>
                      <c:pt idx="73">
                        <c:v>160.44999999999999</c:v>
                      </c:pt>
                      <c:pt idx="74">
                        <c:v>162.07</c:v>
                      </c:pt>
                      <c:pt idx="75">
                        <c:v>163.61000000000001</c:v>
                      </c:pt>
                      <c:pt idx="76">
                        <c:v>162.03</c:v>
                      </c:pt>
                      <c:pt idx="77">
                        <c:v>161.69999999999999</c:v>
                      </c:pt>
                      <c:pt idx="78">
                        <c:v>162.97999999999999</c:v>
                      </c:pt>
                      <c:pt idx="79">
                        <c:v>165.74</c:v>
                      </c:pt>
                      <c:pt idx="80">
                        <c:v>164.57</c:v>
                      </c:pt>
                      <c:pt idx="81">
                        <c:v>164.54</c:v>
                      </c:pt>
                      <c:pt idx="82">
                        <c:v>164.33</c:v>
                      </c:pt>
                      <c:pt idx="83">
                        <c:v>162.66</c:v>
                      </c:pt>
                      <c:pt idx="84">
                        <c:v>166.53</c:v>
                      </c:pt>
                      <c:pt idx="85">
                        <c:v>169</c:v>
                      </c:pt>
                      <c:pt idx="86">
                        <c:v>169.2</c:v>
                      </c:pt>
                      <c:pt idx="87">
                        <c:v>171.3</c:v>
                      </c:pt>
                      <c:pt idx="88">
                        <c:v>173.33</c:v>
                      </c:pt>
                      <c:pt idx="89">
                        <c:v>173.5</c:v>
                      </c:pt>
                      <c:pt idx="90">
                        <c:v>173.41</c:v>
                      </c:pt>
                      <c:pt idx="91">
                        <c:v>175.53</c:v>
                      </c:pt>
                      <c:pt idx="92">
                        <c:v>175.94</c:v>
                      </c:pt>
                      <c:pt idx="93">
                        <c:v>175.72</c:v>
                      </c:pt>
                      <c:pt idx="94">
                        <c:v>177.73</c:v>
                      </c:pt>
                      <c:pt idx="95">
                        <c:v>174.73</c:v>
                      </c:pt>
                      <c:pt idx="96">
                        <c:v>180.29</c:v>
                      </c:pt>
                      <c:pt idx="97">
                        <c:v>182.2</c:v>
                      </c:pt>
                      <c:pt idx="98">
                        <c:v>184.81</c:v>
                      </c:pt>
                      <c:pt idx="99">
                        <c:v>185.64</c:v>
                      </c:pt>
                      <c:pt idx="100">
                        <c:v>187.35</c:v>
                      </c:pt>
                      <c:pt idx="101">
                        <c:v>187.02</c:v>
                      </c:pt>
                      <c:pt idx="102">
                        <c:v>184.4</c:v>
                      </c:pt>
                      <c:pt idx="103">
                        <c:v>188.08</c:v>
                      </c:pt>
                      <c:pt idx="104">
                        <c:v>190.68</c:v>
                      </c:pt>
                      <c:pt idx="105">
                        <c:v>189.41</c:v>
                      </c:pt>
                      <c:pt idx="106">
                        <c:v>191.59</c:v>
                      </c:pt>
                      <c:pt idx="107">
                        <c:v>190.29</c:v>
                      </c:pt>
                      <c:pt idx="108">
                        <c:v>195.37</c:v>
                      </c:pt>
                      <c:pt idx="109">
                        <c:v>197.48</c:v>
                      </c:pt>
                      <c:pt idx="110">
                        <c:v>202.44</c:v>
                      </c:pt>
                      <c:pt idx="111">
                        <c:v>204.25</c:v>
                      </c:pt>
                      <c:pt idx="112">
                        <c:v>204.15</c:v>
                      </c:pt>
                      <c:pt idx="113">
                        <c:v>203.34</c:v>
                      </c:pt>
                      <c:pt idx="114">
                        <c:v>202.23</c:v>
                      </c:pt>
                      <c:pt idx="115">
                        <c:v>206.56</c:v>
                      </c:pt>
                      <c:pt idx="116">
                        <c:v>205.94</c:v>
                      </c:pt>
                      <c:pt idx="117">
                        <c:v>204.65</c:v>
                      </c:pt>
                      <c:pt idx="118">
                        <c:v>204.38</c:v>
                      </c:pt>
                      <c:pt idx="119">
                        <c:v>203.66</c:v>
                      </c:pt>
                      <c:pt idx="120">
                        <c:v>210.09</c:v>
                      </c:pt>
                      <c:pt idx="121">
                        <c:v>213.98</c:v>
                      </c:pt>
                      <c:pt idx="122">
                        <c:v>212.09</c:v>
                      </c:pt>
                      <c:pt idx="123">
                        <c:v>216.27</c:v>
                      </c:pt>
                      <c:pt idx="124">
                        <c:v>217.14</c:v>
                      </c:pt>
                      <c:pt idx="125">
                        <c:v>215.46</c:v>
                      </c:pt>
                      <c:pt idx="126">
                        <c:v>213.25</c:v>
                      </c:pt>
                      <c:pt idx="127">
                        <c:v>218.29</c:v>
                      </c:pt>
                      <c:pt idx="128">
                        <c:v>214.49</c:v>
                      </c:pt>
                      <c:pt idx="129">
                        <c:v>213.31</c:v>
                      </c:pt>
                      <c:pt idx="130">
                        <c:v>208.31</c:v>
                      </c:pt>
                      <c:pt idx="131">
                        <c:v>206.87</c:v>
                      </c:pt>
                      <c:pt idx="132">
                        <c:v>213.09</c:v>
                      </c:pt>
                      <c:pt idx="133">
                        <c:v>216.46</c:v>
                      </c:pt>
                      <c:pt idx="134">
                        <c:v>217.65</c:v>
                      </c:pt>
                      <c:pt idx="135">
                        <c:v>221.12</c:v>
                      </c:pt>
                      <c:pt idx="136">
                        <c:v>222.93</c:v>
                      </c:pt>
                      <c:pt idx="137">
                        <c:v>223.39</c:v>
                      </c:pt>
                      <c:pt idx="138">
                        <c:v>223.14</c:v>
                      </c:pt>
                      <c:pt idx="139">
                        <c:v>226.71</c:v>
                      </c:pt>
                      <c:pt idx="140">
                        <c:v>225.46</c:v>
                      </c:pt>
                      <c:pt idx="141">
                        <c:v>224</c:v>
                      </c:pt>
                      <c:pt idx="142">
                        <c:v>226.91</c:v>
                      </c:pt>
                      <c:pt idx="143">
                        <c:v>227.96</c:v>
                      </c:pt>
                      <c:pt idx="144">
                        <c:v>230.89</c:v>
                      </c:pt>
                      <c:pt idx="145">
                        <c:v>236.47</c:v>
                      </c:pt>
                      <c:pt idx="146">
                        <c:v>235.52</c:v>
                      </c:pt>
                      <c:pt idx="147">
                        <c:v>239.95</c:v>
                      </c:pt>
                      <c:pt idx="148">
                        <c:v>240.24</c:v>
                      </c:pt>
                      <c:pt idx="149">
                        <c:v>241.13</c:v>
                      </c:pt>
                      <c:pt idx="150">
                        <c:v>236.92</c:v>
                      </c:pt>
                      <c:pt idx="151">
                        <c:v>245.28</c:v>
                      </c:pt>
                      <c:pt idx="152">
                        <c:v>244.66</c:v>
                      </c:pt>
                      <c:pt idx="153">
                        <c:v>240.64</c:v>
                      </c:pt>
                      <c:pt idx="154">
                        <c:v>241.22</c:v>
                      </c:pt>
                      <c:pt idx="155">
                        <c:v>238.86</c:v>
                      </c:pt>
                      <c:pt idx="156">
                        <c:v>245</c:v>
                      </c:pt>
                      <c:pt idx="157">
                        <c:v>246.93</c:v>
                      </c:pt>
                      <c:pt idx="158">
                        <c:v>256.86</c:v>
                      </c:pt>
                      <c:pt idx="159">
                        <c:v>258.39</c:v>
                      </c:pt>
                      <c:pt idx="160">
                        <c:v>258.39</c:v>
                      </c:pt>
                      <c:pt idx="161">
                        <c:v>258.33</c:v>
                      </c:pt>
                      <c:pt idx="162">
                        <c:v>252.91</c:v>
                      </c:pt>
                      <c:pt idx="163">
                        <c:v>259.31</c:v>
                      </c:pt>
                      <c:pt idx="164">
                        <c:v>258.94</c:v>
                      </c:pt>
                      <c:pt idx="165">
                        <c:v>258.08999999999997</c:v>
                      </c:pt>
                      <c:pt idx="166">
                        <c:v>257.43</c:v>
                      </c:pt>
                      <c:pt idx="167">
                        <c:v>250.24</c:v>
                      </c:pt>
                      <c:pt idx="168">
                        <c:v>261.92</c:v>
                      </c:pt>
                      <c:pt idx="169">
                        <c:v>270.52</c:v>
                      </c:pt>
                      <c:pt idx="170">
                        <c:v>271.43</c:v>
                      </c:pt>
                      <c:pt idx="171">
                        <c:v>271.61</c:v>
                      </c:pt>
                      <c:pt idx="172">
                        <c:v>275.43</c:v>
                      </c:pt>
                      <c:pt idx="173">
                        <c:v>274.23</c:v>
                      </c:pt>
                      <c:pt idx="174">
                        <c:v>276.2</c:v>
                      </c:pt>
                      <c:pt idx="175">
                        <c:v>273.83999999999997</c:v>
                      </c:pt>
                      <c:pt idx="176">
                        <c:v>269.01</c:v>
                      </c:pt>
                      <c:pt idx="177">
                        <c:v>269.39999999999998</c:v>
                      </c:pt>
                      <c:pt idx="178">
                        <c:v>265.05</c:v>
                      </c:pt>
                      <c:pt idx="179">
                        <c:v>263.57</c:v>
                      </c:pt>
                      <c:pt idx="180">
                        <c:v>270.43</c:v>
                      </c:pt>
                      <c:pt idx="181">
                        <c:v>271.2</c:v>
                      </c:pt>
                      <c:pt idx="182">
                        <c:v>273.63</c:v>
                      </c:pt>
                      <c:pt idx="183">
                        <c:v>278.27</c:v>
                      </c:pt>
                      <c:pt idx="184">
                        <c:v>281.10000000000002</c:v>
                      </c:pt>
                      <c:pt idx="185">
                        <c:v>279.93</c:v>
                      </c:pt>
                      <c:pt idx="186">
                        <c:v>276.05</c:v>
                      </c:pt>
                      <c:pt idx="187">
                        <c:v>281.77</c:v>
                      </c:pt>
                      <c:pt idx="188">
                        <c:v>277.74</c:v>
                      </c:pt>
                      <c:pt idx="189">
                        <c:v>278.83999999999997</c:v>
                      </c:pt>
                      <c:pt idx="190">
                        <c:v>273.64</c:v>
                      </c:pt>
                      <c:pt idx="191">
                        <c:v>268.26</c:v>
                      </c:pt>
                      <c:pt idx="192">
                        <c:v>279.93</c:v>
                      </c:pt>
                      <c:pt idx="193">
                        <c:v>283.99</c:v>
                      </c:pt>
                      <c:pt idx="194">
                        <c:v>285.67</c:v>
                      </c:pt>
                      <c:pt idx="195">
                        <c:v>288.51</c:v>
                      </c:pt>
                      <c:pt idx="196">
                        <c:v>290.89</c:v>
                      </c:pt>
                      <c:pt idx="197">
                        <c:v>292.51</c:v>
                      </c:pt>
                      <c:pt idx="198">
                        <c:v>288.52999999999997</c:v>
                      </c:pt>
                      <c:pt idx="199">
                        <c:v>294.08999999999997</c:v>
                      </c:pt>
                      <c:pt idx="200">
                        <c:v>290.44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L$1</c15:sqref>
                        </c15:formulaRef>
                      </c:ext>
                    </c:extLst>
                    <c:strCache>
                      <c:ptCount val="1"/>
                      <c:pt idx="0">
                        <c:v>Tromsø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L$2:$L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3.37</c:v>
                      </c:pt>
                      <c:pt idx="2">
                        <c:v>103.15</c:v>
                      </c:pt>
                      <c:pt idx="3">
                        <c:v>104.79</c:v>
                      </c:pt>
                      <c:pt idx="4">
                        <c:v>104.19</c:v>
                      </c:pt>
                      <c:pt idx="5">
                        <c:v>105.03</c:v>
                      </c:pt>
                      <c:pt idx="6">
                        <c:v>106.97</c:v>
                      </c:pt>
                      <c:pt idx="7">
                        <c:v>109.28</c:v>
                      </c:pt>
                      <c:pt idx="8">
                        <c:v>108.66</c:v>
                      </c:pt>
                      <c:pt idx="9">
                        <c:v>112.66</c:v>
                      </c:pt>
                      <c:pt idx="10">
                        <c:v>113.34</c:v>
                      </c:pt>
                      <c:pt idx="11">
                        <c:v>112.55</c:v>
                      </c:pt>
                      <c:pt idx="12">
                        <c:v>117.63</c:v>
                      </c:pt>
                      <c:pt idx="13">
                        <c:v>119.27</c:v>
                      </c:pt>
                      <c:pt idx="14">
                        <c:v>121.14</c:v>
                      </c:pt>
                      <c:pt idx="15">
                        <c:v>124.45</c:v>
                      </c:pt>
                      <c:pt idx="16">
                        <c:v>124.38</c:v>
                      </c:pt>
                      <c:pt idx="17">
                        <c:v>124.31</c:v>
                      </c:pt>
                      <c:pt idx="18">
                        <c:v>125.07</c:v>
                      </c:pt>
                      <c:pt idx="19">
                        <c:v>129.65</c:v>
                      </c:pt>
                      <c:pt idx="20">
                        <c:v>129.66</c:v>
                      </c:pt>
                      <c:pt idx="21">
                        <c:v>130.88</c:v>
                      </c:pt>
                      <c:pt idx="22">
                        <c:v>133.1</c:v>
                      </c:pt>
                      <c:pt idx="23">
                        <c:v>131.51</c:v>
                      </c:pt>
                      <c:pt idx="24">
                        <c:v>137.35</c:v>
                      </c:pt>
                      <c:pt idx="25">
                        <c:v>136.66</c:v>
                      </c:pt>
                      <c:pt idx="26">
                        <c:v>143.63</c:v>
                      </c:pt>
                      <c:pt idx="27">
                        <c:v>145.07</c:v>
                      </c:pt>
                      <c:pt idx="28">
                        <c:v>145.22999999999999</c:v>
                      </c:pt>
                      <c:pt idx="29">
                        <c:v>144.66999999999999</c:v>
                      </c:pt>
                      <c:pt idx="30">
                        <c:v>147.84</c:v>
                      </c:pt>
                      <c:pt idx="31">
                        <c:v>153.80000000000001</c:v>
                      </c:pt>
                      <c:pt idx="32">
                        <c:v>152.69</c:v>
                      </c:pt>
                      <c:pt idx="33">
                        <c:v>152.86000000000001</c:v>
                      </c:pt>
                      <c:pt idx="34">
                        <c:v>152.94</c:v>
                      </c:pt>
                      <c:pt idx="35">
                        <c:v>152.93</c:v>
                      </c:pt>
                      <c:pt idx="36">
                        <c:v>157.91</c:v>
                      </c:pt>
                      <c:pt idx="37">
                        <c:v>160.55000000000001</c:v>
                      </c:pt>
                      <c:pt idx="38">
                        <c:v>161.91</c:v>
                      </c:pt>
                      <c:pt idx="39">
                        <c:v>161.86000000000001</c:v>
                      </c:pt>
                      <c:pt idx="40">
                        <c:v>166.5</c:v>
                      </c:pt>
                      <c:pt idx="41">
                        <c:v>164.51</c:v>
                      </c:pt>
                      <c:pt idx="42">
                        <c:v>162.5</c:v>
                      </c:pt>
                      <c:pt idx="43">
                        <c:v>169.31</c:v>
                      </c:pt>
                      <c:pt idx="44">
                        <c:v>169.83</c:v>
                      </c:pt>
                      <c:pt idx="45">
                        <c:v>168.34</c:v>
                      </c:pt>
                      <c:pt idx="46">
                        <c:v>169.16</c:v>
                      </c:pt>
                      <c:pt idx="47">
                        <c:v>167.95</c:v>
                      </c:pt>
                      <c:pt idx="48">
                        <c:v>175.58</c:v>
                      </c:pt>
                      <c:pt idx="49">
                        <c:v>174.71</c:v>
                      </c:pt>
                      <c:pt idx="50">
                        <c:v>179.07</c:v>
                      </c:pt>
                      <c:pt idx="51">
                        <c:v>179.79</c:v>
                      </c:pt>
                      <c:pt idx="52">
                        <c:v>180.72</c:v>
                      </c:pt>
                      <c:pt idx="53">
                        <c:v>179.42</c:v>
                      </c:pt>
                      <c:pt idx="54">
                        <c:v>177.02</c:v>
                      </c:pt>
                      <c:pt idx="55">
                        <c:v>179.03</c:v>
                      </c:pt>
                      <c:pt idx="56">
                        <c:v>176.48</c:v>
                      </c:pt>
                      <c:pt idx="57">
                        <c:v>176.82</c:v>
                      </c:pt>
                      <c:pt idx="58">
                        <c:v>175.34</c:v>
                      </c:pt>
                      <c:pt idx="59">
                        <c:v>172.55</c:v>
                      </c:pt>
                      <c:pt idx="60">
                        <c:v>176.6</c:v>
                      </c:pt>
                      <c:pt idx="61">
                        <c:v>179.58</c:v>
                      </c:pt>
                      <c:pt idx="62">
                        <c:v>178.6</c:v>
                      </c:pt>
                      <c:pt idx="63">
                        <c:v>178.19</c:v>
                      </c:pt>
                      <c:pt idx="64">
                        <c:v>175.12</c:v>
                      </c:pt>
                      <c:pt idx="65">
                        <c:v>172.51</c:v>
                      </c:pt>
                      <c:pt idx="66">
                        <c:v>170.92</c:v>
                      </c:pt>
                      <c:pt idx="67">
                        <c:v>168.35</c:v>
                      </c:pt>
                      <c:pt idx="68">
                        <c:v>164.34</c:v>
                      </c:pt>
                      <c:pt idx="69">
                        <c:v>158.37</c:v>
                      </c:pt>
                      <c:pt idx="70">
                        <c:v>154.19999999999999</c:v>
                      </c:pt>
                      <c:pt idx="71">
                        <c:v>154.33000000000001</c:v>
                      </c:pt>
                      <c:pt idx="72">
                        <c:v>157.22999999999999</c:v>
                      </c:pt>
                      <c:pt idx="73">
                        <c:v>162.01</c:v>
                      </c:pt>
                      <c:pt idx="74">
                        <c:v>164.1</c:v>
                      </c:pt>
                      <c:pt idx="75">
                        <c:v>166.9</c:v>
                      </c:pt>
                      <c:pt idx="76">
                        <c:v>167.55</c:v>
                      </c:pt>
                      <c:pt idx="77">
                        <c:v>167.33</c:v>
                      </c:pt>
                      <c:pt idx="78">
                        <c:v>169.25</c:v>
                      </c:pt>
                      <c:pt idx="79">
                        <c:v>171.8</c:v>
                      </c:pt>
                      <c:pt idx="80">
                        <c:v>171.1</c:v>
                      </c:pt>
                      <c:pt idx="81">
                        <c:v>171.21</c:v>
                      </c:pt>
                      <c:pt idx="82">
                        <c:v>170.33</c:v>
                      </c:pt>
                      <c:pt idx="83">
                        <c:v>169.01</c:v>
                      </c:pt>
                      <c:pt idx="84">
                        <c:v>172.51</c:v>
                      </c:pt>
                      <c:pt idx="85">
                        <c:v>174.1</c:v>
                      </c:pt>
                      <c:pt idx="86">
                        <c:v>174.2</c:v>
                      </c:pt>
                      <c:pt idx="87">
                        <c:v>174.87</c:v>
                      </c:pt>
                      <c:pt idx="88">
                        <c:v>175.03</c:v>
                      </c:pt>
                      <c:pt idx="89">
                        <c:v>174.03</c:v>
                      </c:pt>
                      <c:pt idx="90">
                        <c:v>174.14</c:v>
                      </c:pt>
                      <c:pt idx="91">
                        <c:v>176.5</c:v>
                      </c:pt>
                      <c:pt idx="92">
                        <c:v>176.06</c:v>
                      </c:pt>
                      <c:pt idx="93">
                        <c:v>175.1</c:v>
                      </c:pt>
                      <c:pt idx="94">
                        <c:v>176.38</c:v>
                      </c:pt>
                      <c:pt idx="95">
                        <c:v>173.29</c:v>
                      </c:pt>
                      <c:pt idx="96">
                        <c:v>178.88</c:v>
                      </c:pt>
                      <c:pt idx="97">
                        <c:v>180.6</c:v>
                      </c:pt>
                      <c:pt idx="98">
                        <c:v>181.85</c:v>
                      </c:pt>
                      <c:pt idx="99">
                        <c:v>183.75</c:v>
                      </c:pt>
                      <c:pt idx="100">
                        <c:v>185.14</c:v>
                      </c:pt>
                      <c:pt idx="101">
                        <c:v>183.37</c:v>
                      </c:pt>
                      <c:pt idx="102">
                        <c:v>180.61</c:v>
                      </c:pt>
                      <c:pt idx="103">
                        <c:v>182.61</c:v>
                      </c:pt>
                      <c:pt idx="104">
                        <c:v>184.33</c:v>
                      </c:pt>
                      <c:pt idx="105">
                        <c:v>182.09</c:v>
                      </c:pt>
                      <c:pt idx="106">
                        <c:v>183.18</c:v>
                      </c:pt>
                      <c:pt idx="107">
                        <c:v>181.29</c:v>
                      </c:pt>
                      <c:pt idx="108">
                        <c:v>184.69</c:v>
                      </c:pt>
                      <c:pt idx="109">
                        <c:v>186.06</c:v>
                      </c:pt>
                      <c:pt idx="110">
                        <c:v>190.01</c:v>
                      </c:pt>
                      <c:pt idx="111">
                        <c:v>190.92</c:v>
                      </c:pt>
                      <c:pt idx="112">
                        <c:v>191.23</c:v>
                      </c:pt>
                      <c:pt idx="113">
                        <c:v>191.38</c:v>
                      </c:pt>
                      <c:pt idx="114">
                        <c:v>191.4</c:v>
                      </c:pt>
                      <c:pt idx="115">
                        <c:v>196.89</c:v>
                      </c:pt>
                      <c:pt idx="116">
                        <c:v>197</c:v>
                      </c:pt>
                      <c:pt idx="117">
                        <c:v>196.16</c:v>
                      </c:pt>
                      <c:pt idx="118">
                        <c:v>197.58</c:v>
                      </c:pt>
                      <c:pt idx="119">
                        <c:v>197.79</c:v>
                      </c:pt>
                      <c:pt idx="120">
                        <c:v>205.33</c:v>
                      </c:pt>
                      <c:pt idx="121">
                        <c:v>210.34</c:v>
                      </c:pt>
                      <c:pt idx="122">
                        <c:v>209.66</c:v>
                      </c:pt>
                      <c:pt idx="123">
                        <c:v>214.94</c:v>
                      </c:pt>
                      <c:pt idx="124">
                        <c:v>215.6</c:v>
                      </c:pt>
                      <c:pt idx="125">
                        <c:v>214.37</c:v>
                      </c:pt>
                      <c:pt idx="126">
                        <c:v>212.77</c:v>
                      </c:pt>
                      <c:pt idx="127">
                        <c:v>218.86</c:v>
                      </c:pt>
                      <c:pt idx="128">
                        <c:v>215.79</c:v>
                      </c:pt>
                      <c:pt idx="129">
                        <c:v>215.7</c:v>
                      </c:pt>
                      <c:pt idx="130">
                        <c:v>211.78</c:v>
                      </c:pt>
                      <c:pt idx="131">
                        <c:v>210.53</c:v>
                      </c:pt>
                      <c:pt idx="132">
                        <c:v>216.8</c:v>
                      </c:pt>
                      <c:pt idx="133">
                        <c:v>221.5</c:v>
                      </c:pt>
                      <c:pt idx="134">
                        <c:v>224.11</c:v>
                      </c:pt>
                      <c:pt idx="135">
                        <c:v>227.84</c:v>
                      </c:pt>
                      <c:pt idx="136">
                        <c:v>232.11</c:v>
                      </c:pt>
                      <c:pt idx="137">
                        <c:v>234.27</c:v>
                      </c:pt>
                      <c:pt idx="138">
                        <c:v>234.65</c:v>
                      </c:pt>
                      <c:pt idx="139">
                        <c:v>240.51</c:v>
                      </c:pt>
                      <c:pt idx="140">
                        <c:v>240.71</c:v>
                      </c:pt>
                      <c:pt idx="141">
                        <c:v>240.81</c:v>
                      </c:pt>
                      <c:pt idx="142">
                        <c:v>243.59</c:v>
                      </c:pt>
                      <c:pt idx="143">
                        <c:v>245.33</c:v>
                      </c:pt>
                      <c:pt idx="144">
                        <c:v>249.77</c:v>
                      </c:pt>
                      <c:pt idx="145">
                        <c:v>257.11</c:v>
                      </c:pt>
                      <c:pt idx="146">
                        <c:v>255.72</c:v>
                      </c:pt>
                      <c:pt idx="147">
                        <c:v>260.97000000000003</c:v>
                      </c:pt>
                      <c:pt idx="148">
                        <c:v>260.43</c:v>
                      </c:pt>
                      <c:pt idx="149">
                        <c:v>260.33999999999997</c:v>
                      </c:pt>
                      <c:pt idx="150">
                        <c:v>257.26</c:v>
                      </c:pt>
                      <c:pt idx="151">
                        <c:v>265.52999999999997</c:v>
                      </c:pt>
                      <c:pt idx="152">
                        <c:v>263.66000000000003</c:v>
                      </c:pt>
                      <c:pt idx="153">
                        <c:v>258.17</c:v>
                      </c:pt>
                      <c:pt idx="154">
                        <c:v>258.60000000000002</c:v>
                      </c:pt>
                      <c:pt idx="155">
                        <c:v>255.16</c:v>
                      </c:pt>
                      <c:pt idx="156">
                        <c:v>260.37</c:v>
                      </c:pt>
                      <c:pt idx="157">
                        <c:v>260.47000000000003</c:v>
                      </c:pt>
                      <c:pt idx="158">
                        <c:v>270.67</c:v>
                      </c:pt>
                      <c:pt idx="159">
                        <c:v>270.58</c:v>
                      </c:pt>
                      <c:pt idx="160">
                        <c:v>270.62</c:v>
                      </c:pt>
                      <c:pt idx="161">
                        <c:v>270.83</c:v>
                      </c:pt>
                      <c:pt idx="162">
                        <c:v>265.01</c:v>
                      </c:pt>
                      <c:pt idx="163">
                        <c:v>272.38</c:v>
                      </c:pt>
                      <c:pt idx="164">
                        <c:v>271.39</c:v>
                      </c:pt>
                      <c:pt idx="165">
                        <c:v>270.14999999999998</c:v>
                      </c:pt>
                      <c:pt idx="166">
                        <c:v>269.61</c:v>
                      </c:pt>
                      <c:pt idx="167">
                        <c:v>263.13</c:v>
                      </c:pt>
                      <c:pt idx="168">
                        <c:v>275.01</c:v>
                      </c:pt>
                      <c:pt idx="169">
                        <c:v>283.16000000000003</c:v>
                      </c:pt>
                      <c:pt idx="170">
                        <c:v>282.18</c:v>
                      </c:pt>
                      <c:pt idx="171">
                        <c:v>282.51</c:v>
                      </c:pt>
                      <c:pt idx="172">
                        <c:v>284.64</c:v>
                      </c:pt>
                      <c:pt idx="173">
                        <c:v>283.14999999999998</c:v>
                      </c:pt>
                      <c:pt idx="174">
                        <c:v>285.37</c:v>
                      </c:pt>
                      <c:pt idx="175">
                        <c:v>282.08999999999997</c:v>
                      </c:pt>
                      <c:pt idx="176">
                        <c:v>276.63</c:v>
                      </c:pt>
                      <c:pt idx="177">
                        <c:v>276.83</c:v>
                      </c:pt>
                      <c:pt idx="178">
                        <c:v>271.77</c:v>
                      </c:pt>
                      <c:pt idx="179">
                        <c:v>269.26</c:v>
                      </c:pt>
                      <c:pt idx="180">
                        <c:v>276.74</c:v>
                      </c:pt>
                      <c:pt idx="181">
                        <c:v>277.86</c:v>
                      </c:pt>
                      <c:pt idx="182">
                        <c:v>281.06</c:v>
                      </c:pt>
                      <c:pt idx="183">
                        <c:v>286.17</c:v>
                      </c:pt>
                      <c:pt idx="184">
                        <c:v>287.99</c:v>
                      </c:pt>
                      <c:pt idx="185">
                        <c:v>285.04000000000002</c:v>
                      </c:pt>
                      <c:pt idx="186">
                        <c:v>280.76</c:v>
                      </c:pt>
                      <c:pt idx="187">
                        <c:v>286.56</c:v>
                      </c:pt>
                      <c:pt idx="188">
                        <c:v>282.73</c:v>
                      </c:pt>
                      <c:pt idx="189">
                        <c:v>283.08999999999997</c:v>
                      </c:pt>
                      <c:pt idx="190">
                        <c:v>277.77</c:v>
                      </c:pt>
                      <c:pt idx="191">
                        <c:v>272.57</c:v>
                      </c:pt>
                      <c:pt idx="192">
                        <c:v>283.92</c:v>
                      </c:pt>
                      <c:pt idx="193">
                        <c:v>287.62</c:v>
                      </c:pt>
                      <c:pt idx="194">
                        <c:v>288.08999999999997</c:v>
                      </c:pt>
                      <c:pt idx="195">
                        <c:v>290.75</c:v>
                      </c:pt>
                      <c:pt idx="196">
                        <c:v>293.58999999999997</c:v>
                      </c:pt>
                      <c:pt idx="197">
                        <c:v>295.83</c:v>
                      </c:pt>
                      <c:pt idx="198">
                        <c:v>291.76</c:v>
                      </c:pt>
                      <c:pt idx="199">
                        <c:v>297.54000000000002</c:v>
                      </c:pt>
                      <c:pt idx="200">
                        <c:v>292.60000000000002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M$1</c15:sqref>
                        </c15:formulaRef>
                      </c:ext>
                    </c:extLst>
                    <c:strCache>
                      <c:ptCount val="1"/>
                      <c:pt idx="0">
                        <c:v>Nord-Norge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M$2:$M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3.21</c:v>
                      </c:pt>
                      <c:pt idx="2">
                        <c:v>102.48</c:v>
                      </c:pt>
                      <c:pt idx="3">
                        <c:v>103.73</c:v>
                      </c:pt>
                      <c:pt idx="4">
                        <c:v>102.97</c:v>
                      </c:pt>
                      <c:pt idx="5">
                        <c:v>103.53</c:v>
                      </c:pt>
                      <c:pt idx="6">
                        <c:v>105.05</c:v>
                      </c:pt>
                      <c:pt idx="7">
                        <c:v>106.8</c:v>
                      </c:pt>
                      <c:pt idx="8">
                        <c:v>106.16</c:v>
                      </c:pt>
                      <c:pt idx="9">
                        <c:v>109.29</c:v>
                      </c:pt>
                      <c:pt idx="10">
                        <c:v>109.22</c:v>
                      </c:pt>
                      <c:pt idx="11">
                        <c:v>108.44</c:v>
                      </c:pt>
                      <c:pt idx="12">
                        <c:v>113.09</c:v>
                      </c:pt>
                      <c:pt idx="13">
                        <c:v>114.16</c:v>
                      </c:pt>
                      <c:pt idx="14">
                        <c:v>115.54</c:v>
                      </c:pt>
                      <c:pt idx="15">
                        <c:v>118.22</c:v>
                      </c:pt>
                      <c:pt idx="16">
                        <c:v>117.8</c:v>
                      </c:pt>
                      <c:pt idx="17">
                        <c:v>117.73</c:v>
                      </c:pt>
                      <c:pt idx="18">
                        <c:v>117.96</c:v>
                      </c:pt>
                      <c:pt idx="19">
                        <c:v>121.89</c:v>
                      </c:pt>
                      <c:pt idx="20">
                        <c:v>121.37</c:v>
                      </c:pt>
                      <c:pt idx="21">
                        <c:v>121.43</c:v>
                      </c:pt>
                      <c:pt idx="22">
                        <c:v>123.21</c:v>
                      </c:pt>
                      <c:pt idx="23">
                        <c:v>121.62</c:v>
                      </c:pt>
                      <c:pt idx="24">
                        <c:v>126.66</c:v>
                      </c:pt>
                      <c:pt idx="25">
                        <c:v>125.88</c:v>
                      </c:pt>
                      <c:pt idx="26">
                        <c:v>131.81</c:v>
                      </c:pt>
                      <c:pt idx="27">
                        <c:v>132.22999999999999</c:v>
                      </c:pt>
                      <c:pt idx="28">
                        <c:v>132.16999999999999</c:v>
                      </c:pt>
                      <c:pt idx="29">
                        <c:v>130.4</c:v>
                      </c:pt>
                      <c:pt idx="30">
                        <c:v>133.25</c:v>
                      </c:pt>
                      <c:pt idx="31">
                        <c:v>138.63</c:v>
                      </c:pt>
                      <c:pt idx="32">
                        <c:v>137.38</c:v>
                      </c:pt>
                      <c:pt idx="33">
                        <c:v>138.37</c:v>
                      </c:pt>
                      <c:pt idx="34">
                        <c:v>138.44</c:v>
                      </c:pt>
                      <c:pt idx="35">
                        <c:v>138.74</c:v>
                      </c:pt>
                      <c:pt idx="36">
                        <c:v>143.37</c:v>
                      </c:pt>
                      <c:pt idx="37">
                        <c:v>146.19999999999999</c:v>
                      </c:pt>
                      <c:pt idx="38">
                        <c:v>148.16</c:v>
                      </c:pt>
                      <c:pt idx="39">
                        <c:v>148.87</c:v>
                      </c:pt>
                      <c:pt idx="40">
                        <c:v>153.94999999999999</c:v>
                      </c:pt>
                      <c:pt idx="41">
                        <c:v>153.72</c:v>
                      </c:pt>
                      <c:pt idx="42">
                        <c:v>152.25</c:v>
                      </c:pt>
                      <c:pt idx="43">
                        <c:v>159.38999999999999</c:v>
                      </c:pt>
                      <c:pt idx="44">
                        <c:v>160.5</c:v>
                      </c:pt>
                      <c:pt idx="45">
                        <c:v>159.44</c:v>
                      </c:pt>
                      <c:pt idx="46">
                        <c:v>161.22</c:v>
                      </c:pt>
                      <c:pt idx="47">
                        <c:v>159.72</c:v>
                      </c:pt>
                      <c:pt idx="48">
                        <c:v>167.3</c:v>
                      </c:pt>
                      <c:pt idx="49">
                        <c:v>166.7</c:v>
                      </c:pt>
                      <c:pt idx="50">
                        <c:v>171.05</c:v>
                      </c:pt>
                      <c:pt idx="51">
                        <c:v>171.83</c:v>
                      </c:pt>
                      <c:pt idx="52">
                        <c:v>172.66</c:v>
                      </c:pt>
                      <c:pt idx="53">
                        <c:v>171.42</c:v>
                      </c:pt>
                      <c:pt idx="54">
                        <c:v>169.6</c:v>
                      </c:pt>
                      <c:pt idx="55">
                        <c:v>171.24</c:v>
                      </c:pt>
                      <c:pt idx="56">
                        <c:v>168.41</c:v>
                      </c:pt>
                      <c:pt idx="57">
                        <c:v>168.81</c:v>
                      </c:pt>
                      <c:pt idx="58">
                        <c:v>167.2</c:v>
                      </c:pt>
                      <c:pt idx="59">
                        <c:v>164.78</c:v>
                      </c:pt>
                      <c:pt idx="60">
                        <c:v>168.88</c:v>
                      </c:pt>
                      <c:pt idx="61">
                        <c:v>172.03</c:v>
                      </c:pt>
                      <c:pt idx="62">
                        <c:v>171.53</c:v>
                      </c:pt>
                      <c:pt idx="63">
                        <c:v>171.8</c:v>
                      </c:pt>
                      <c:pt idx="64">
                        <c:v>170.14</c:v>
                      </c:pt>
                      <c:pt idx="65">
                        <c:v>168.36</c:v>
                      </c:pt>
                      <c:pt idx="66">
                        <c:v>167.15</c:v>
                      </c:pt>
                      <c:pt idx="67">
                        <c:v>165.96</c:v>
                      </c:pt>
                      <c:pt idx="68">
                        <c:v>163.29</c:v>
                      </c:pt>
                      <c:pt idx="69">
                        <c:v>157.44</c:v>
                      </c:pt>
                      <c:pt idx="70">
                        <c:v>153.58000000000001</c:v>
                      </c:pt>
                      <c:pt idx="71">
                        <c:v>154.22999999999999</c:v>
                      </c:pt>
                      <c:pt idx="72">
                        <c:v>157.22</c:v>
                      </c:pt>
                      <c:pt idx="73">
                        <c:v>161.82</c:v>
                      </c:pt>
                      <c:pt idx="74">
                        <c:v>163.96</c:v>
                      </c:pt>
                      <c:pt idx="75">
                        <c:v>166.73</c:v>
                      </c:pt>
                      <c:pt idx="76">
                        <c:v>166.46</c:v>
                      </c:pt>
                      <c:pt idx="77">
                        <c:v>166.21</c:v>
                      </c:pt>
                      <c:pt idx="78">
                        <c:v>167.89</c:v>
                      </c:pt>
                      <c:pt idx="79">
                        <c:v>170.24</c:v>
                      </c:pt>
                      <c:pt idx="80">
                        <c:v>169.5</c:v>
                      </c:pt>
                      <c:pt idx="81">
                        <c:v>170.04</c:v>
                      </c:pt>
                      <c:pt idx="82">
                        <c:v>169.89</c:v>
                      </c:pt>
                      <c:pt idx="83">
                        <c:v>168.68</c:v>
                      </c:pt>
                      <c:pt idx="84">
                        <c:v>172.75</c:v>
                      </c:pt>
                      <c:pt idx="85">
                        <c:v>175.1</c:v>
                      </c:pt>
                      <c:pt idx="86">
                        <c:v>174.92</c:v>
                      </c:pt>
                      <c:pt idx="87">
                        <c:v>176.72</c:v>
                      </c:pt>
                      <c:pt idx="88">
                        <c:v>178.28</c:v>
                      </c:pt>
                      <c:pt idx="89">
                        <c:v>178.14</c:v>
                      </c:pt>
                      <c:pt idx="90">
                        <c:v>178.39</c:v>
                      </c:pt>
                      <c:pt idx="91">
                        <c:v>181.13</c:v>
                      </c:pt>
                      <c:pt idx="92">
                        <c:v>181.89</c:v>
                      </c:pt>
                      <c:pt idx="93">
                        <c:v>181.81</c:v>
                      </c:pt>
                      <c:pt idx="94">
                        <c:v>183.96</c:v>
                      </c:pt>
                      <c:pt idx="95">
                        <c:v>180.76</c:v>
                      </c:pt>
                      <c:pt idx="96">
                        <c:v>186.62</c:v>
                      </c:pt>
                      <c:pt idx="97">
                        <c:v>188.66</c:v>
                      </c:pt>
                      <c:pt idx="98">
                        <c:v>191.07</c:v>
                      </c:pt>
                      <c:pt idx="99">
                        <c:v>192.66</c:v>
                      </c:pt>
                      <c:pt idx="100">
                        <c:v>193.74</c:v>
                      </c:pt>
                      <c:pt idx="101">
                        <c:v>192.73</c:v>
                      </c:pt>
                      <c:pt idx="102">
                        <c:v>190.16</c:v>
                      </c:pt>
                      <c:pt idx="103">
                        <c:v>193.12</c:v>
                      </c:pt>
                      <c:pt idx="104">
                        <c:v>194.9</c:v>
                      </c:pt>
                      <c:pt idx="105">
                        <c:v>192.96</c:v>
                      </c:pt>
                      <c:pt idx="106">
                        <c:v>194.46</c:v>
                      </c:pt>
                      <c:pt idx="107">
                        <c:v>192.72</c:v>
                      </c:pt>
                      <c:pt idx="108">
                        <c:v>196.86</c:v>
                      </c:pt>
                      <c:pt idx="109">
                        <c:v>198.52</c:v>
                      </c:pt>
                      <c:pt idx="110">
                        <c:v>202.96</c:v>
                      </c:pt>
                      <c:pt idx="111">
                        <c:v>204.18</c:v>
                      </c:pt>
                      <c:pt idx="112">
                        <c:v>204.45</c:v>
                      </c:pt>
                      <c:pt idx="113">
                        <c:v>204.15</c:v>
                      </c:pt>
                      <c:pt idx="114">
                        <c:v>203.39</c:v>
                      </c:pt>
                      <c:pt idx="115">
                        <c:v>207.65</c:v>
                      </c:pt>
                      <c:pt idx="116">
                        <c:v>207.09</c:v>
                      </c:pt>
                      <c:pt idx="117">
                        <c:v>206.03</c:v>
                      </c:pt>
                      <c:pt idx="118">
                        <c:v>206.24</c:v>
                      </c:pt>
                      <c:pt idx="119">
                        <c:v>206.01</c:v>
                      </c:pt>
                      <c:pt idx="120">
                        <c:v>213.03</c:v>
                      </c:pt>
                      <c:pt idx="121">
                        <c:v>217.02</c:v>
                      </c:pt>
                      <c:pt idx="122">
                        <c:v>215.28</c:v>
                      </c:pt>
                      <c:pt idx="123">
                        <c:v>219.87</c:v>
                      </c:pt>
                      <c:pt idx="124">
                        <c:v>220.19</c:v>
                      </c:pt>
                      <c:pt idx="125">
                        <c:v>218.08</c:v>
                      </c:pt>
                      <c:pt idx="126">
                        <c:v>216.17</c:v>
                      </c:pt>
                      <c:pt idx="127">
                        <c:v>221.46</c:v>
                      </c:pt>
                      <c:pt idx="128">
                        <c:v>217.89</c:v>
                      </c:pt>
                      <c:pt idx="129">
                        <c:v>217</c:v>
                      </c:pt>
                      <c:pt idx="130">
                        <c:v>212.64</c:v>
                      </c:pt>
                      <c:pt idx="131">
                        <c:v>211.27</c:v>
                      </c:pt>
                      <c:pt idx="132">
                        <c:v>217.23</c:v>
                      </c:pt>
                      <c:pt idx="133">
                        <c:v>221.47</c:v>
                      </c:pt>
                      <c:pt idx="134">
                        <c:v>223.41</c:v>
                      </c:pt>
                      <c:pt idx="135">
                        <c:v>226.68</c:v>
                      </c:pt>
                      <c:pt idx="136">
                        <c:v>229.26</c:v>
                      </c:pt>
                      <c:pt idx="137">
                        <c:v>230.49</c:v>
                      </c:pt>
                      <c:pt idx="138">
                        <c:v>229.88</c:v>
                      </c:pt>
                      <c:pt idx="139">
                        <c:v>234.23</c:v>
                      </c:pt>
                      <c:pt idx="140">
                        <c:v>232.96</c:v>
                      </c:pt>
                      <c:pt idx="141">
                        <c:v>231.75</c:v>
                      </c:pt>
                      <c:pt idx="142">
                        <c:v>234.48</c:v>
                      </c:pt>
                      <c:pt idx="143">
                        <c:v>235.69</c:v>
                      </c:pt>
                      <c:pt idx="144">
                        <c:v>239.28</c:v>
                      </c:pt>
                      <c:pt idx="145">
                        <c:v>245.55</c:v>
                      </c:pt>
                      <c:pt idx="146">
                        <c:v>243.56</c:v>
                      </c:pt>
                      <c:pt idx="147">
                        <c:v>247.59</c:v>
                      </c:pt>
                      <c:pt idx="148">
                        <c:v>246.66</c:v>
                      </c:pt>
                      <c:pt idx="149">
                        <c:v>246.75</c:v>
                      </c:pt>
                      <c:pt idx="150">
                        <c:v>243.05</c:v>
                      </c:pt>
                      <c:pt idx="151">
                        <c:v>250.93</c:v>
                      </c:pt>
                      <c:pt idx="152">
                        <c:v>249.41</c:v>
                      </c:pt>
                      <c:pt idx="153">
                        <c:v>245.13</c:v>
                      </c:pt>
                      <c:pt idx="154">
                        <c:v>245.69</c:v>
                      </c:pt>
                      <c:pt idx="155">
                        <c:v>243.06</c:v>
                      </c:pt>
                      <c:pt idx="156">
                        <c:v>248.41</c:v>
                      </c:pt>
                      <c:pt idx="157">
                        <c:v>249.31</c:v>
                      </c:pt>
                      <c:pt idx="158">
                        <c:v>259.66000000000003</c:v>
                      </c:pt>
                      <c:pt idx="159">
                        <c:v>260.32</c:v>
                      </c:pt>
                      <c:pt idx="160">
                        <c:v>261.06</c:v>
                      </c:pt>
                      <c:pt idx="161">
                        <c:v>261.52</c:v>
                      </c:pt>
                      <c:pt idx="162">
                        <c:v>256.82</c:v>
                      </c:pt>
                      <c:pt idx="163">
                        <c:v>263.63</c:v>
                      </c:pt>
                      <c:pt idx="164">
                        <c:v>263.19</c:v>
                      </c:pt>
                      <c:pt idx="165">
                        <c:v>262.16000000000003</c:v>
                      </c:pt>
                      <c:pt idx="166">
                        <c:v>261.76</c:v>
                      </c:pt>
                      <c:pt idx="167">
                        <c:v>255.04</c:v>
                      </c:pt>
                      <c:pt idx="168">
                        <c:v>266.82</c:v>
                      </c:pt>
                      <c:pt idx="169">
                        <c:v>275.05</c:v>
                      </c:pt>
                      <c:pt idx="170">
                        <c:v>274.08999999999997</c:v>
                      </c:pt>
                      <c:pt idx="171">
                        <c:v>274.36</c:v>
                      </c:pt>
                      <c:pt idx="172">
                        <c:v>276.49</c:v>
                      </c:pt>
                      <c:pt idx="173">
                        <c:v>274.55</c:v>
                      </c:pt>
                      <c:pt idx="174">
                        <c:v>276.69</c:v>
                      </c:pt>
                      <c:pt idx="175">
                        <c:v>274.48</c:v>
                      </c:pt>
                      <c:pt idx="176">
                        <c:v>269.27</c:v>
                      </c:pt>
                      <c:pt idx="177">
                        <c:v>269.55</c:v>
                      </c:pt>
                      <c:pt idx="178">
                        <c:v>264.66000000000003</c:v>
                      </c:pt>
                      <c:pt idx="179">
                        <c:v>262.62</c:v>
                      </c:pt>
                      <c:pt idx="180">
                        <c:v>269.83999999999997</c:v>
                      </c:pt>
                      <c:pt idx="181">
                        <c:v>270.63</c:v>
                      </c:pt>
                      <c:pt idx="182">
                        <c:v>273.58999999999997</c:v>
                      </c:pt>
                      <c:pt idx="183">
                        <c:v>278.72000000000003</c:v>
                      </c:pt>
                      <c:pt idx="184">
                        <c:v>281.11</c:v>
                      </c:pt>
                      <c:pt idx="185">
                        <c:v>278.64999999999998</c:v>
                      </c:pt>
                      <c:pt idx="186">
                        <c:v>274.64</c:v>
                      </c:pt>
                      <c:pt idx="187">
                        <c:v>280.73</c:v>
                      </c:pt>
                      <c:pt idx="188">
                        <c:v>276.58999999999997</c:v>
                      </c:pt>
                      <c:pt idx="189">
                        <c:v>277.2</c:v>
                      </c:pt>
                      <c:pt idx="190">
                        <c:v>271.94</c:v>
                      </c:pt>
                      <c:pt idx="191">
                        <c:v>266.45999999999998</c:v>
                      </c:pt>
                      <c:pt idx="192">
                        <c:v>277.77</c:v>
                      </c:pt>
                      <c:pt idx="193">
                        <c:v>281.8</c:v>
                      </c:pt>
                      <c:pt idx="194">
                        <c:v>282.93</c:v>
                      </c:pt>
                      <c:pt idx="195">
                        <c:v>285.14999999999998</c:v>
                      </c:pt>
                      <c:pt idx="196">
                        <c:v>287.39</c:v>
                      </c:pt>
                      <c:pt idx="197">
                        <c:v>289.93</c:v>
                      </c:pt>
                      <c:pt idx="198">
                        <c:v>286</c:v>
                      </c:pt>
                      <c:pt idx="199">
                        <c:v>290.93</c:v>
                      </c:pt>
                      <c:pt idx="200">
                        <c:v>286.02999999999997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N$1</c15:sqref>
                        </c15:formulaRef>
                      </c:ext>
                    </c:extLst>
                    <c:strCache>
                      <c:ptCount val="1"/>
                      <c:pt idx="0">
                        <c:v>Hamar m/Stang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N$2:$N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0.08</c:v>
                      </c:pt>
                      <c:pt idx="2">
                        <c:v>101.24</c:v>
                      </c:pt>
                      <c:pt idx="3">
                        <c:v>101.35</c:v>
                      </c:pt>
                      <c:pt idx="4">
                        <c:v>100.88</c:v>
                      </c:pt>
                      <c:pt idx="5">
                        <c:v>102.09</c:v>
                      </c:pt>
                      <c:pt idx="6">
                        <c:v>101.04</c:v>
                      </c:pt>
                      <c:pt idx="7">
                        <c:v>103.19</c:v>
                      </c:pt>
                      <c:pt idx="8">
                        <c:v>103.36</c:v>
                      </c:pt>
                      <c:pt idx="9">
                        <c:v>104.23</c:v>
                      </c:pt>
                      <c:pt idx="10">
                        <c:v>104.7</c:v>
                      </c:pt>
                      <c:pt idx="11">
                        <c:v>104.81</c:v>
                      </c:pt>
                      <c:pt idx="12">
                        <c:v>106.99</c:v>
                      </c:pt>
                      <c:pt idx="13">
                        <c:v>108.03</c:v>
                      </c:pt>
                      <c:pt idx="14">
                        <c:v>110.66</c:v>
                      </c:pt>
                      <c:pt idx="15">
                        <c:v>113.24</c:v>
                      </c:pt>
                      <c:pt idx="16">
                        <c:v>112.75</c:v>
                      </c:pt>
                      <c:pt idx="17">
                        <c:v>113.34</c:v>
                      </c:pt>
                      <c:pt idx="18">
                        <c:v>112.59</c:v>
                      </c:pt>
                      <c:pt idx="19">
                        <c:v>116.03</c:v>
                      </c:pt>
                      <c:pt idx="20">
                        <c:v>115.97</c:v>
                      </c:pt>
                      <c:pt idx="21">
                        <c:v>115.44</c:v>
                      </c:pt>
                      <c:pt idx="22">
                        <c:v>116.3</c:v>
                      </c:pt>
                      <c:pt idx="23">
                        <c:v>117.08</c:v>
                      </c:pt>
                      <c:pt idx="24">
                        <c:v>118.4</c:v>
                      </c:pt>
                      <c:pt idx="25">
                        <c:v>120.33</c:v>
                      </c:pt>
                      <c:pt idx="26">
                        <c:v>123.27</c:v>
                      </c:pt>
                      <c:pt idx="27">
                        <c:v>124.01</c:v>
                      </c:pt>
                      <c:pt idx="28">
                        <c:v>125.36</c:v>
                      </c:pt>
                      <c:pt idx="29">
                        <c:v>125.24</c:v>
                      </c:pt>
                      <c:pt idx="30">
                        <c:v>123.96</c:v>
                      </c:pt>
                      <c:pt idx="31">
                        <c:v>128.32</c:v>
                      </c:pt>
                      <c:pt idx="32">
                        <c:v>126.72</c:v>
                      </c:pt>
                      <c:pt idx="33">
                        <c:v>127.79</c:v>
                      </c:pt>
                      <c:pt idx="34">
                        <c:v>127.83</c:v>
                      </c:pt>
                      <c:pt idx="35">
                        <c:v>126.86</c:v>
                      </c:pt>
                      <c:pt idx="36">
                        <c:v>129.47999999999999</c:v>
                      </c:pt>
                      <c:pt idx="37">
                        <c:v>131.16</c:v>
                      </c:pt>
                      <c:pt idx="38">
                        <c:v>133.38999999999999</c:v>
                      </c:pt>
                      <c:pt idx="39">
                        <c:v>134.91</c:v>
                      </c:pt>
                      <c:pt idx="40">
                        <c:v>137.31</c:v>
                      </c:pt>
                      <c:pt idx="41">
                        <c:v>138.49</c:v>
                      </c:pt>
                      <c:pt idx="42">
                        <c:v>137.83000000000001</c:v>
                      </c:pt>
                      <c:pt idx="43">
                        <c:v>140.21</c:v>
                      </c:pt>
                      <c:pt idx="44">
                        <c:v>141.51</c:v>
                      </c:pt>
                      <c:pt idx="45">
                        <c:v>142.86000000000001</c:v>
                      </c:pt>
                      <c:pt idx="46">
                        <c:v>140.94</c:v>
                      </c:pt>
                      <c:pt idx="47">
                        <c:v>141.18</c:v>
                      </c:pt>
                      <c:pt idx="48">
                        <c:v>145.86000000000001</c:v>
                      </c:pt>
                      <c:pt idx="49">
                        <c:v>149.75</c:v>
                      </c:pt>
                      <c:pt idx="50">
                        <c:v>151.96</c:v>
                      </c:pt>
                      <c:pt idx="51">
                        <c:v>154.29</c:v>
                      </c:pt>
                      <c:pt idx="52">
                        <c:v>157.52000000000001</c:v>
                      </c:pt>
                      <c:pt idx="53">
                        <c:v>156.13999999999999</c:v>
                      </c:pt>
                      <c:pt idx="54">
                        <c:v>155.18</c:v>
                      </c:pt>
                      <c:pt idx="55">
                        <c:v>160</c:v>
                      </c:pt>
                      <c:pt idx="56">
                        <c:v>156.52000000000001</c:v>
                      </c:pt>
                      <c:pt idx="57">
                        <c:v>154.97</c:v>
                      </c:pt>
                      <c:pt idx="58">
                        <c:v>154.86000000000001</c:v>
                      </c:pt>
                      <c:pt idx="59">
                        <c:v>154.61000000000001</c:v>
                      </c:pt>
                      <c:pt idx="60">
                        <c:v>156.31</c:v>
                      </c:pt>
                      <c:pt idx="61">
                        <c:v>155.51</c:v>
                      </c:pt>
                      <c:pt idx="62">
                        <c:v>157.06</c:v>
                      </c:pt>
                      <c:pt idx="63">
                        <c:v>159.08000000000001</c:v>
                      </c:pt>
                      <c:pt idx="64">
                        <c:v>160.54</c:v>
                      </c:pt>
                      <c:pt idx="65">
                        <c:v>157.86000000000001</c:v>
                      </c:pt>
                      <c:pt idx="66">
                        <c:v>155.24</c:v>
                      </c:pt>
                      <c:pt idx="67">
                        <c:v>158.52000000000001</c:v>
                      </c:pt>
                      <c:pt idx="68">
                        <c:v>154.88999999999999</c:v>
                      </c:pt>
                      <c:pt idx="69">
                        <c:v>149.69</c:v>
                      </c:pt>
                      <c:pt idx="70">
                        <c:v>146.4</c:v>
                      </c:pt>
                      <c:pt idx="71">
                        <c:v>146.19999999999999</c:v>
                      </c:pt>
                      <c:pt idx="72">
                        <c:v>148.91999999999999</c:v>
                      </c:pt>
                      <c:pt idx="73">
                        <c:v>153.31</c:v>
                      </c:pt>
                      <c:pt idx="74">
                        <c:v>154.51</c:v>
                      </c:pt>
                      <c:pt idx="75">
                        <c:v>156.21</c:v>
                      </c:pt>
                      <c:pt idx="76">
                        <c:v>156.66999999999999</c:v>
                      </c:pt>
                      <c:pt idx="77">
                        <c:v>158.38999999999999</c:v>
                      </c:pt>
                      <c:pt idx="78">
                        <c:v>157.03</c:v>
                      </c:pt>
                      <c:pt idx="79">
                        <c:v>160.65</c:v>
                      </c:pt>
                      <c:pt idx="80">
                        <c:v>160.96</c:v>
                      </c:pt>
                      <c:pt idx="81">
                        <c:v>162.24</c:v>
                      </c:pt>
                      <c:pt idx="82">
                        <c:v>159.84</c:v>
                      </c:pt>
                      <c:pt idx="83">
                        <c:v>159.75</c:v>
                      </c:pt>
                      <c:pt idx="84">
                        <c:v>163.81</c:v>
                      </c:pt>
                      <c:pt idx="85">
                        <c:v>166.37</c:v>
                      </c:pt>
                      <c:pt idx="86">
                        <c:v>165.76</c:v>
                      </c:pt>
                      <c:pt idx="87">
                        <c:v>168.86</c:v>
                      </c:pt>
                      <c:pt idx="88">
                        <c:v>168.88</c:v>
                      </c:pt>
                      <c:pt idx="89">
                        <c:v>170.29</c:v>
                      </c:pt>
                      <c:pt idx="90">
                        <c:v>165.91</c:v>
                      </c:pt>
                      <c:pt idx="91">
                        <c:v>169.28</c:v>
                      </c:pt>
                      <c:pt idx="92">
                        <c:v>167.76</c:v>
                      </c:pt>
                      <c:pt idx="93">
                        <c:v>168</c:v>
                      </c:pt>
                      <c:pt idx="94">
                        <c:v>167.36</c:v>
                      </c:pt>
                      <c:pt idx="95">
                        <c:v>165.27</c:v>
                      </c:pt>
                      <c:pt idx="96">
                        <c:v>170.32</c:v>
                      </c:pt>
                      <c:pt idx="97">
                        <c:v>172.85</c:v>
                      </c:pt>
                      <c:pt idx="98">
                        <c:v>175.08</c:v>
                      </c:pt>
                      <c:pt idx="99">
                        <c:v>176.19</c:v>
                      </c:pt>
                      <c:pt idx="100">
                        <c:v>179.42</c:v>
                      </c:pt>
                      <c:pt idx="101">
                        <c:v>178.66</c:v>
                      </c:pt>
                      <c:pt idx="102">
                        <c:v>176.43</c:v>
                      </c:pt>
                      <c:pt idx="103">
                        <c:v>179.12</c:v>
                      </c:pt>
                      <c:pt idx="104">
                        <c:v>177.68</c:v>
                      </c:pt>
                      <c:pt idx="105">
                        <c:v>177.74</c:v>
                      </c:pt>
                      <c:pt idx="106">
                        <c:v>175.73</c:v>
                      </c:pt>
                      <c:pt idx="107">
                        <c:v>172.97</c:v>
                      </c:pt>
                      <c:pt idx="108">
                        <c:v>177.96</c:v>
                      </c:pt>
                      <c:pt idx="109">
                        <c:v>178.3</c:v>
                      </c:pt>
                      <c:pt idx="110">
                        <c:v>179.53</c:v>
                      </c:pt>
                      <c:pt idx="111">
                        <c:v>183.2</c:v>
                      </c:pt>
                      <c:pt idx="112">
                        <c:v>182.42</c:v>
                      </c:pt>
                      <c:pt idx="113">
                        <c:v>181.47</c:v>
                      </c:pt>
                      <c:pt idx="114">
                        <c:v>179.57</c:v>
                      </c:pt>
                      <c:pt idx="115">
                        <c:v>184.43</c:v>
                      </c:pt>
                      <c:pt idx="116">
                        <c:v>183.37</c:v>
                      </c:pt>
                      <c:pt idx="117">
                        <c:v>181.93</c:v>
                      </c:pt>
                      <c:pt idx="118">
                        <c:v>180.08</c:v>
                      </c:pt>
                      <c:pt idx="119">
                        <c:v>177.37</c:v>
                      </c:pt>
                      <c:pt idx="120">
                        <c:v>185.33</c:v>
                      </c:pt>
                      <c:pt idx="121">
                        <c:v>187.2</c:v>
                      </c:pt>
                      <c:pt idx="122">
                        <c:v>186.54</c:v>
                      </c:pt>
                      <c:pt idx="123">
                        <c:v>188.11</c:v>
                      </c:pt>
                      <c:pt idx="124">
                        <c:v>189.74</c:v>
                      </c:pt>
                      <c:pt idx="125">
                        <c:v>189.39</c:v>
                      </c:pt>
                      <c:pt idx="126">
                        <c:v>185.99</c:v>
                      </c:pt>
                      <c:pt idx="127">
                        <c:v>194.11</c:v>
                      </c:pt>
                      <c:pt idx="128">
                        <c:v>192.33</c:v>
                      </c:pt>
                      <c:pt idx="129">
                        <c:v>188.9</c:v>
                      </c:pt>
                      <c:pt idx="130">
                        <c:v>189.91</c:v>
                      </c:pt>
                      <c:pt idx="131">
                        <c:v>184.33</c:v>
                      </c:pt>
                      <c:pt idx="132">
                        <c:v>192.51</c:v>
                      </c:pt>
                      <c:pt idx="133">
                        <c:v>193.6</c:v>
                      </c:pt>
                      <c:pt idx="134">
                        <c:v>197.27</c:v>
                      </c:pt>
                      <c:pt idx="135">
                        <c:v>198.08</c:v>
                      </c:pt>
                      <c:pt idx="136">
                        <c:v>198.84</c:v>
                      </c:pt>
                      <c:pt idx="137">
                        <c:v>199.54</c:v>
                      </c:pt>
                      <c:pt idx="138">
                        <c:v>198.65</c:v>
                      </c:pt>
                      <c:pt idx="139">
                        <c:v>201.96</c:v>
                      </c:pt>
                      <c:pt idx="140">
                        <c:v>200.86</c:v>
                      </c:pt>
                      <c:pt idx="141">
                        <c:v>200.88</c:v>
                      </c:pt>
                      <c:pt idx="142">
                        <c:v>199.18</c:v>
                      </c:pt>
                      <c:pt idx="143">
                        <c:v>198.24</c:v>
                      </c:pt>
                      <c:pt idx="144">
                        <c:v>203.83</c:v>
                      </c:pt>
                      <c:pt idx="145">
                        <c:v>207.04</c:v>
                      </c:pt>
                      <c:pt idx="146">
                        <c:v>209.75</c:v>
                      </c:pt>
                      <c:pt idx="147">
                        <c:v>214.35</c:v>
                      </c:pt>
                      <c:pt idx="148">
                        <c:v>213.85</c:v>
                      </c:pt>
                      <c:pt idx="149">
                        <c:v>216.44</c:v>
                      </c:pt>
                      <c:pt idx="150">
                        <c:v>207.83</c:v>
                      </c:pt>
                      <c:pt idx="151">
                        <c:v>218.14</c:v>
                      </c:pt>
                      <c:pt idx="152">
                        <c:v>218.11</c:v>
                      </c:pt>
                      <c:pt idx="153">
                        <c:v>215.75</c:v>
                      </c:pt>
                      <c:pt idx="154">
                        <c:v>216.26</c:v>
                      </c:pt>
                      <c:pt idx="155">
                        <c:v>212.99</c:v>
                      </c:pt>
                      <c:pt idx="156">
                        <c:v>221.76</c:v>
                      </c:pt>
                      <c:pt idx="157">
                        <c:v>221.46</c:v>
                      </c:pt>
                      <c:pt idx="158">
                        <c:v>225.01</c:v>
                      </c:pt>
                      <c:pt idx="159">
                        <c:v>229.53</c:v>
                      </c:pt>
                      <c:pt idx="160">
                        <c:v>233.1</c:v>
                      </c:pt>
                      <c:pt idx="161">
                        <c:v>231.63</c:v>
                      </c:pt>
                      <c:pt idx="162">
                        <c:v>227.68</c:v>
                      </c:pt>
                      <c:pt idx="163">
                        <c:v>237.6</c:v>
                      </c:pt>
                      <c:pt idx="164">
                        <c:v>236.3</c:v>
                      </c:pt>
                      <c:pt idx="165">
                        <c:v>237.53</c:v>
                      </c:pt>
                      <c:pt idx="166">
                        <c:v>230.65</c:v>
                      </c:pt>
                      <c:pt idx="167">
                        <c:v>229.2</c:v>
                      </c:pt>
                      <c:pt idx="168">
                        <c:v>237.19</c:v>
                      </c:pt>
                      <c:pt idx="169">
                        <c:v>241</c:v>
                      </c:pt>
                      <c:pt idx="170">
                        <c:v>245.09</c:v>
                      </c:pt>
                      <c:pt idx="171">
                        <c:v>247.77</c:v>
                      </c:pt>
                      <c:pt idx="172">
                        <c:v>246.25</c:v>
                      </c:pt>
                      <c:pt idx="173">
                        <c:v>248.58</c:v>
                      </c:pt>
                      <c:pt idx="174">
                        <c:v>246.35</c:v>
                      </c:pt>
                      <c:pt idx="175">
                        <c:v>250.89</c:v>
                      </c:pt>
                      <c:pt idx="176">
                        <c:v>253.11</c:v>
                      </c:pt>
                      <c:pt idx="177">
                        <c:v>253.53</c:v>
                      </c:pt>
                      <c:pt idx="178">
                        <c:v>251.19</c:v>
                      </c:pt>
                      <c:pt idx="179">
                        <c:v>252.29</c:v>
                      </c:pt>
                      <c:pt idx="180">
                        <c:v>254.26</c:v>
                      </c:pt>
                      <c:pt idx="181">
                        <c:v>258.35000000000002</c:v>
                      </c:pt>
                      <c:pt idx="182">
                        <c:v>258.83999999999997</c:v>
                      </c:pt>
                      <c:pt idx="183">
                        <c:v>261.54000000000002</c:v>
                      </c:pt>
                      <c:pt idx="184">
                        <c:v>264.42</c:v>
                      </c:pt>
                      <c:pt idx="185">
                        <c:v>262.58999999999997</c:v>
                      </c:pt>
                      <c:pt idx="186">
                        <c:v>260.83999999999997</c:v>
                      </c:pt>
                      <c:pt idx="187">
                        <c:v>263.61</c:v>
                      </c:pt>
                      <c:pt idx="188">
                        <c:v>260.63</c:v>
                      </c:pt>
                      <c:pt idx="189">
                        <c:v>257.60000000000002</c:v>
                      </c:pt>
                      <c:pt idx="190">
                        <c:v>251.83</c:v>
                      </c:pt>
                      <c:pt idx="191">
                        <c:v>255.29</c:v>
                      </c:pt>
                      <c:pt idx="192">
                        <c:v>262.85000000000002</c:v>
                      </c:pt>
                      <c:pt idx="193">
                        <c:v>264.38</c:v>
                      </c:pt>
                      <c:pt idx="194">
                        <c:v>260.83999999999997</c:v>
                      </c:pt>
                      <c:pt idx="195">
                        <c:v>265.69</c:v>
                      </c:pt>
                      <c:pt idx="196">
                        <c:v>269.52999999999997</c:v>
                      </c:pt>
                      <c:pt idx="197">
                        <c:v>268.49</c:v>
                      </c:pt>
                      <c:pt idx="198">
                        <c:v>260.06</c:v>
                      </c:pt>
                      <c:pt idx="199">
                        <c:v>269.7</c:v>
                      </c:pt>
                      <c:pt idx="200">
                        <c:v>267.36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O$1</c15:sqref>
                        </c15:formulaRef>
                      </c:ext>
                    </c:extLst>
                    <c:strCache>
                      <c:ptCount val="1"/>
                      <c:pt idx="0">
                        <c:v>Innlandet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O$2:$O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0.34</c:v>
                      </c:pt>
                      <c:pt idx="2">
                        <c:v>101.84</c:v>
                      </c:pt>
                      <c:pt idx="3">
                        <c:v>102.11</c:v>
                      </c:pt>
                      <c:pt idx="4">
                        <c:v>101.52</c:v>
                      </c:pt>
                      <c:pt idx="5">
                        <c:v>102.86</c:v>
                      </c:pt>
                      <c:pt idx="6">
                        <c:v>101.63</c:v>
                      </c:pt>
                      <c:pt idx="7">
                        <c:v>103.49</c:v>
                      </c:pt>
                      <c:pt idx="8">
                        <c:v>103.31</c:v>
                      </c:pt>
                      <c:pt idx="9">
                        <c:v>103.48</c:v>
                      </c:pt>
                      <c:pt idx="10">
                        <c:v>104.09</c:v>
                      </c:pt>
                      <c:pt idx="11">
                        <c:v>104.15</c:v>
                      </c:pt>
                      <c:pt idx="12">
                        <c:v>106.46</c:v>
                      </c:pt>
                      <c:pt idx="13">
                        <c:v>107.56</c:v>
                      </c:pt>
                      <c:pt idx="14">
                        <c:v>109.79</c:v>
                      </c:pt>
                      <c:pt idx="15">
                        <c:v>112.11</c:v>
                      </c:pt>
                      <c:pt idx="16">
                        <c:v>111.69</c:v>
                      </c:pt>
                      <c:pt idx="17">
                        <c:v>112.38</c:v>
                      </c:pt>
                      <c:pt idx="18">
                        <c:v>111.25</c:v>
                      </c:pt>
                      <c:pt idx="19">
                        <c:v>114.45</c:v>
                      </c:pt>
                      <c:pt idx="20">
                        <c:v>114.18</c:v>
                      </c:pt>
                      <c:pt idx="21">
                        <c:v>114.22</c:v>
                      </c:pt>
                      <c:pt idx="22">
                        <c:v>114.64</c:v>
                      </c:pt>
                      <c:pt idx="23">
                        <c:v>115.35</c:v>
                      </c:pt>
                      <c:pt idx="24">
                        <c:v>116.39</c:v>
                      </c:pt>
                      <c:pt idx="25">
                        <c:v>117.98</c:v>
                      </c:pt>
                      <c:pt idx="26">
                        <c:v>120.62</c:v>
                      </c:pt>
                      <c:pt idx="27">
                        <c:v>121.58</c:v>
                      </c:pt>
                      <c:pt idx="28">
                        <c:v>123.1</c:v>
                      </c:pt>
                      <c:pt idx="29">
                        <c:v>121.85</c:v>
                      </c:pt>
                      <c:pt idx="30">
                        <c:v>120.71</c:v>
                      </c:pt>
                      <c:pt idx="31">
                        <c:v>124.98</c:v>
                      </c:pt>
                      <c:pt idx="32">
                        <c:v>123.56</c:v>
                      </c:pt>
                      <c:pt idx="33">
                        <c:v>124.46</c:v>
                      </c:pt>
                      <c:pt idx="34">
                        <c:v>124.62</c:v>
                      </c:pt>
                      <c:pt idx="35">
                        <c:v>123.89</c:v>
                      </c:pt>
                      <c:pt idx="36">
                        <c:v>126.52</c:v>
                      </c:pt>
                      <c:pt idx="37">
                        <c:v>128.41</c:v>
                      </c:pt>
                      <c:pt idx="38">
                        <c:v>130.94999999999999</c:v>
                      </c:pt>
                      <c:pt idx="39">
                        <c:v>132.11000000000001</c:v>
                      </c:pt>
                      <c:pt idx="40">
                        <c:v>134.09</c:v>
                      </c:pt>
                      <c:pt idx="41">
                        <c:v>135.76</c:v>
                      </c:pt>
                      <c:pt idx="42">
                        <c:v>135.26</c:v>
                      </c:pt>
                      <c:pt idx="43">
                        <c:v>137.80000000000001</c:v>
                      </c:pt>
                      <c:pt idx="44">
                        <c:v>139</c:v>
                      </c:pt>
                      <c:pt idx="45">
                        <c:v>140.07</c:v>
                      </c:pt>
                      <c:pt idx="46">
                        <c:v>138.03</c:v>
                      </c:pt>
                      <c:pt idx="47">
                        <c:v>137.86000000000001</c:v>
                      </c:pt>
                      <c:pt idx="48">
                        <c:v>142.1</c:v>
                      </c:pt>
                      <c:pt idx="49">
                        <c:v>145.47</c:v>
                      </c:pt>
                      <c:pt idx="50">
                        <c:v>146.9</c:v>
                      </c:pt>
                      <c:pt idx="51">
                        <c:v>148.68</c:v>
                      </c:pt>
                      <c:pt idx="52">
                        <c:v>151.07</c:v>
                      </c:pt>
                      <c:pt idx="53">
                        <c:v>149.88999999999999</c:v>
                      </c:pt>
                      <c:pt idx="54">
                        <c:v>149.11000000000001</c:v>
                      </c:pt>
                      <c:pt idx="55">
                        <c:v>153.55000000000001</c:v>
                      </c:pt>
                      <c:pt idx="56">
                        <c:v>150.54</c:v>
                      </c:pt>
                      <c:pt idx="57">
                        <c:v>148.78</c:v>
                      </c:pt>
                      <c:pt idx="58">
                        <c:v>148.72</c:v>
                      </c:pt>
                      <c:pt idx="59">
                        <c:v>148.80000000000001</c:v>
                      </c:pt>
                      <c:pt idx="60">
                        <c:v>150.27000000000001</c:v>
                      </c:pt>
                      <c:pt idx="61">
                        <c:v>149.69999999999999</c:v>
                      </c:pt>
                      <c:pt idx="62">
                        <c:v>151.07</c:v>
                      </c:pt>
                      <c:pt idx="63">
                        <c:v>153.47</c:v>
                      </c:pt>
                      <c:pt idx="64">
                        <c:v>154.94</c:v>
                      </c:pt>
                      <c:pt idx="65">
                        <c:v>151.68</c:v>
                      </c:pt>
                      <c:pt idx="66">
                        <c:v>149.37</c:v>
                      </c:pt>
                      <c:pt idx="67">
                        <c:v>152.76</c:v>
                      </c:pt>
                      <c:pt idx="68">
                        <c:v>149.44999999999999</c:v>
                      </c:pt>
                      <c:pt idx="69">
                        <c:v>144.57</c:v>
                      </c:pt>
                      <c:pt idx="70">
                        <c:v>141.13999999999999</c:v>
                      </c:pt>
                      <c:pt idx="71">
                        <c:v>140.72999999999999</c:v>
                      </c:pt>
                      <c:pt idx="72">
                        <c:v>143.88999999999999</c:v>
                      </c:pt>
                      <c:pt idx="73">
                        <c:v>147.82</c:v>
                      </c:pt>
                      <c:pt idx="74">
                        <c:v>149.43</c:v>
                      </c:pt>
                      <c:pt idx="75">
                        <c:v>151.61000000000001</c:v>
                      </c:pt>
                      <c:pt idx="76">
                        <c:v>152.06</c:v>
                      </c:pt>
                      <c:pt idx="77">
                        <c:v>155.09</c:v>
                      </c:pt>
                      <c:pt idx="78">
                        <c:v>153.16</c:v>
                      </c:pt>
                      <c:pt idx="79">
                        <c:v>156.34</c:v>
                      </c:pt>
                      <c:pt idx="80">
                        <c:v>156.56</c:v>
                      </c:pt>
                      <c:pt idx="81">
                        <c:v>158.09</c:v>
                      </c:pt>
                      <c:pt idx="82">
                        <c:v>155.68</c:v>
                      </c:pt>
                      <c:pt idx="83">
                        <c:v>155.5</c:v>
                      </c:pt>
                      <c:pt idx="84">
                        <c:v>159.22999999999999</c:v>
                      </c:pt>
                      <c:pt idx="85">
                        <c:v>161.91</c:v>
                      </c:pt>
                      <c:pt idx="86">
                        <c:v>161.32</c:v>
                      </c:pt>
                      <c:pt idx="87">
                        <c:v>163.80000000000001</c:v>
                      </c:pt>
                      <c:pt idx="88">
                        <c:v>164.47</c:v>
                      </c:pt>
                      <c:pt idx="89">
                        <c:v>165.23</c:v>
                      </c:pt>
                      <c:pt idx="90">
                        <c:v>161.81</c:v>
                      </c:pt>
                      <c:pt idx="91">
                        <c:v>165.9</c:v>
                      </c:pt>
                      <c:pt idx="92">
                        <c:v>164.39</c:v>
                      </c:pt>
                      <c:pt idx="93">
                        <c:v>165.13</c:v>
                      </c:pt>
                      <c:pt idx="94">
                        <c:v>164.57</c:v>
                      </c:pt>
                      <c:pt idx="95">
                        <c:v>162.77000000000001</c:v>
                      </c:pt>
                      <c:pt idx="96">
                        <c:v>167.56</c:v>
                      </c:pt>
                      <c:pt idx="97">
                        <c:v>169.77</c:v>
                      </c:pt>
                      <c:pt idx="98">
                        <c:v>171.78</c:v>
                      </c:pt>
                      <c:pt idx="99">
                        <c:v>173.23</c:v>
                      </c:pt>
                      <c:pt idx="100">
                        <c:v>176.5</c:v>
                      </c:pt>
                      <c:pt idx="101">
                        <c:v>175.66</c:v>
                      </c:pt>
                      <c:pt idx="102">
                        <c:v>173.39</c:v>
                      </c:pt>
                      <c:pt idx="103">
                        <c:v>175.59</c:v>
                      </c:pt>
                      <c:pt idx="104">
                        <c:v>174.98</c:v>
                      </c:pt>
                      <c:pt idx="105">
                        <c:v>174.9</c:v>
                      </c:pt>
                      <c:pt idx="106">
                        <c:v>173.73</c:v>
                      </c:pt>
                      <c:pt idx="107">
                        <c:v>171.11</c:v>
                      </c:pt>
                      <c:pt idx="108">
                        <c:v>176.63</c:v>
                      </c:pt>
                      <c:pt idx="109">
                        <c:v>177.55</c:v>
                      </c:pt>
                      <c:pt idx="110">
                        <c:v>179.39</c:v>
                      </c:pt>
                      <c:pt idx="111">
                        <c:v>182.74</c:v>
                      </c:pt>
                      <c:pt idx="112">
                        <c:v>181.6</c:v>
                      </c:pt>
                      <c:pt idx="113">
                        <c:v>181.03</c:v>
                      </c:pt>
                      <c:pt idx="114">
                        <c:v>179.22</c:v>
                      </c:pt>
                      <c:pt idx="115">
                        <c:v>185.02</c:v>
                      </c:pt>
                      <c:pt idx="116">
                        <c:v>183.67</c:v>
                      </c:pt>
                      <c:pt idx="117">
                        <c:v>182.77</c:v>
                      </c:pt>
                      <c:pt idx="118">
                        <c:v>180.74</c:v>
                      </c:pt>
                      <c:pt idx="119">
                        <c:v>178.18</c:v>
                      </c:pt>
                      <c:pt idx="120">
                        <c:v>186.02</c:v>
                      </c:pt>
                      <c:pt idx="121">
                        <c:v>188.28</c:v>
                      </c:pt>
                      <c:pt idx="122">
                        <c:v>187.1</c:v>
                      </c:pt>
                      <c:pt idx="123">
                        <c:v>188.64</c:v>
                      </c:pt>
                      <c:pt idx="124">
                        <c:v>190.34</c:v>
                      </c:pt>
                      <c:pt idx="125">
                        <c:v>190.64</c:v>
                      </c:pt>
                      <c:pt idx="126">
                        <c:v>186.75</c:v>
                      </c:pt>
                      <c:pt idx="127">
                        <c:v>193.6</c:v>
                      </c:pt>
                      <c:pt idx="128">
                        <c:v>190.95</c:v>
                      </c:pt>
                      <c:pt idx="129">
                        <c:v>186.87</c:v>
                      </c:pt>
                      <c:pt idx="130">
                        <c:v>187.62</c:v>
                      </c:pt>
                      <c:pt idx="131">
                        <c:v>182.15</c:v>
                      </c:pt>
                      <c:pt idx="132">
                        <c:v>189.86</c:v>
                      </c:pt>
                      <c:pt idx="133">
                        <c:v>190.17</c:v>
                      </c:pt>
                      <c:pt idx="134">
                        <c:v>193.61</c:v>
                      </c:pt>
                      <c:pt idx="135">
                        <c:v>194.57</c:v>
                      </c:pt>
                      <c:pt idx="136">
                        <c:v>195.43</c:v>
                      </c:pt>
                      <c:pt idx="137">
                        <c:v>194.24</c:v>
                      </c:pt>
                      <c:pt idx="138">
                        <c:v>193.83</c:v>
                      </c:pt>
                      <c:pt idx="139">
                        <c:v>196.77</c:v>
                      </c:pt>
                      <c:pt idx="140">
                        <c:v>197.03</c:v>
                      </c:pt>
                      <c:pt idx="141">
                        <c:v>198.15</c:v>
                      </c:pt>
                      <c:pt idx="142">
                        <c:v>197.12</c:v>
                      </c:pt>
                      <c:pt idx="143">
                        <c:v>196.1</c:v>
                      </c:pt>
                      <c:pt idx="144">
                        <c:v>201.86</c:v>
                      </c:pt>
                      <c:pt idx="145">
                        <c:v>204.7</c:v>
                      </c:pt>
                      <c:pt idx="146">
                        <c:v>207.06</c:v>
                      </c:pt>
                      <c:pt idx="147">
                        <c:v>210.87</c:v>
                      </c:pt>
                      <c:pt idx="148">
                        <c:v>210.06</c:v>
                      </c:pt>
                      <c:pt idx="149">
                        <c:v>213.37</c:v>
                      </c:pt>
                      <c:pt idx="150">
                        <c:v>204.54</c:v>
                      </c:pt>
                      <c:pt idx="151">
                        <c:v>215.05</c:v>
                      </c:pt>
                      <c:pt idx="152">
                        <c:v>214.07</c:v>
                      </c:pt>
                      <c:pt idx="153">
                        <c:v>210.44</c:v>
                      </c:pt>
                      <c:pt idx="154">
                        <c:v>210.14</c:v>
                      </c:pt>
                      <c:pt idx="155">
                        <c:v>207.1</c:v>
                      </c:pt>
                      <c:pt idx="156">
                        <c:v>215.7</c:v>
                      </c:pt>
                      <c:pt idx="157">
                        <c:v>215.79</c:v>
                      </c:pt>
                      <c:pt idx="158">
                        <c:v>218.74</c:v>
                      </c:pt>
                      <c:pt idx="159">
                        <c:v>223.23</c:v>
                      </c:pt>
                      <c:pt idx="160">
                        <c:v>226.95</c:v>
                      </c:pt>
                      <c:pt idx="161">
                        <c:v>225.45</c:v>
                      </c:pt>
                      <c:pt idx="162">
                        <c:v>222.81</c:v>
                      </c:pt>
                      <c:pt idx="163">
                        <c:v>232.28</c:v>
                      </c:pt>
                      <c:pt idx="164">
                        <c:v>232.05</c:v>
                      </c:pt>
                      <c:pt idx="165">
                        <c:v>233.62</c:v>
                      </c:pt>
                      <c:pt idx="166">
                        <c:v>227.99</c:v>
                      </c:pt>
                      <c:pt idx="167">
                        <c:v>226.72</c:v>
                      </c:pt>
                      <c:pt idx="168">
                        <c:v>235.45</c:v>
                      </c:pt>
                      <c:pt idx="169">
                        <c:v>238.35</c:v>
                      </c:pt>
                      <c:pt idx="170">
                        <c:v>242.22</c:v>
                      </c:pt>
                      <c:pt idx="171">
                        <c:v>244.89</c:v>
                      </c:pt>
                      <c:pt idx="172">
                        <c:v>242.39</c:v>
                      </c:pt>
                      <c:pt idx="173">
                        <c:v>243.57</c:v>
                      </c:pt>
                      <c:pt idx="174">
                        <c:v>240.71</c:v>
                      </c:pt>
                      <c:pt idx="175">
                        <c:v>245.24</c:v>
                      </c:pt>
                      <c:pt idx="176">
                        <c:v>245.56</c:v>
                      </c:pt>
                      <c:pt idx="177">
                        <c:v>246.27</c:v>
                      </c:pt>
                      <c:pt idx="178">
                        <c:v>242.79</c:v>
                      </c:pt>
                      <c:pt idx="179">
                        <c:v>243.98</c:v>
                      </c:pt>
                      <c:pt idx="180">
                        <c:v>245.31</c:v>
                      </c:pt>
                      <c:pt idx="181">
                        <c:v>249.2</c:v>
                      </c:pt>
                      <c:pt idx="182">
                        <c:v>249.15</c:v>
                      </c:pt>
                      <c:pt idx="183">
                        <c:v>251.6</c:v>
                      </c:pt>
                      <c:pt idx="184">
                        <c:v>253.67</c:v>
                      </c:pt>
                      <c:pt idx="185">
                        <c:v>251.97</c:v>
                      </c:pt>
                      <c:pt idx="186">
                        <c:v>250.3</c:v>
                      </c:pt>
                      <c:pt idx="187">
                        <c:v>253.28</c:v>
                      </c:pt>
                      <c:pt idx="188">
                        <c:v>251.03</c:v>
                      </c:pt>
                      <c:pt idx="189">
                        <c:v>247.25</c:v>
                      </c:pt>
                      <c:pt idx="190">
                        <c:v>242.36</c:v>
                      </c:pt>
                      <c:pt idx="191">
                        <c:v>245.35</c:v>
                      </c:pt>
                      <c:pt idx="192">
                        <c:v>251.73</c:v>
                      </c:pt>
                      <c:pt idx="193">
                        <c:v>253.34</c:v>
                      </c:pt>
                      <c:pt idx="194">
                        <c:v>249.8</c:v>
                      </c:pt>
                      <c:pt idx="195">
                        <c:v>253.97</c:v>
                      </c:pt>
                      <c:pt idx="196">
                        <c:v>258.42</c:v>
                      </c:pt>
                      <c:pt idx="197">
                        <c:v>257.29000000000002</c:v>
                      </c:pt>
                      <c:pt idx="198">
                        <c:v>249.32</c:v>
                      </c:pt>
                      <c:pt idx="199">
                        <c:v>257.99</c:v>
                      </c:pt>
                      <c:pt idx="200">
                        <c:v>254.84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P$1</c15:sqref>
                        </c15:formulaRef>
                      </c:ext>
                    </c:extLst>
                    <c:strCache>
                      <c:ptCount val="1"/>
                      <c:pt idx="0">
                        <c:v>Kristiansand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P$2:$P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99.93</c:v>
                      </c:pt>
                      <c:pt idx="2">
                        <c:v>101.35</c:v>
                      </c:pt>
                      <c:pt idx="3">
                        <c:v>99.49</c:v>
                      </c:pt>
                      <c:pt idx="4">
                        <c:v>102.65</c:v>
                      </c:pt>
                      <c:pt idx="5">
                        <c:v>102.19</c:v>
                      </c:pt>
                      <c:pt idx="6">
                        <c:v>102.97</c:v>
                      </c:pt>
                      <c:pt idx="7">
                        <c:v>103.82</c:v>
                      </c:pt>
                      <c:pt idx="8">
                        <c:v>103.41</c:v>
                      </c:pt>
                      <c:pt idx="9">
                        <c:v>102.94</c:v>
                      </c:pt>
                      <c:pt idx="10">
                        <c:v>103.61</c:v>
                      </c:pt>
                      <c:pt idx="11">
                        <c:v>104.85</c:v>
                      </c:pt>
                      <c:pt idx="12">
                        <c:v>108.93</c:v>
                      </c:pt>
                      <c:pt idx="13">
                        <c:v>106.93</c:v>
                      </c:pt>
                      <c:pt idx="14">
                        <c:v>111.16</c:v>
                      </c:pt>
                      <c:pt idx="15">
                        <c:v>112.02</c:v>
                      </c:pt>
                      <c:pt idx="16">
                        <c:v>112.93</c:v>
                      </c:pt>
                      <c:pt idx="17">
                        <c:v>114.91</c:v>
                      </c:pt>
                      <c:pt idx="18">
                        <c:v>119.17</c:v>
                      </c:pt>
                      <c:pt idx="19">
                        <c:v>115.88</c:v>
                      </c:pt>
                      <c:pt idx="20">
                        <c:v>116.7</c:v>
                      </c:pt>
                      <c:pt idx="21">
                        <c:v>116.75</c:v>
                      </c:pt>
                      <c:pt idx="22">
                        <c:v>116.01</c:v>
                      </c:pt>
                      <c:pt idx="23">
                        <c:v>117.56</c:v>
                      </c:pt>
                      <c:pt idx="24">
                        <c:v>117.98</c:v>
                      </c:pt>
                      <c:pt idx="25">
                        <c:v>119.79</c:v>
                      </c:pt>
                      <c:pt idx="26">
                        <c:v>120.97</c:v>
                      </c:pt>
                      <c:pt idx="27">
                        <c:v>121.29</c:v>
                      </c:pt>
                      <c:pt idx="28">
                        <c:v>124.53</c:v>
                      </c:pt>
                      <c:pt idx="29">
                        <c:v>125.05</c:v>
                      </c:pt>
                      <c:pt idx="30">
                        <c:v>128.74</c:v>
                      </c:pt>
                      <c:pt idx="31">
                        <c:v>128.68</c:v>
                      </c:pt>
                      <c:pt idx="32">
                        <c:v>129.34</c:v>
                      </c:pt>
                      <c:pt idx="33">
                        <c:v>133.29</c:v>
                      </c:pt>
                      <c:pt idx="34">
                        <c:v>133.29</c:v>
                      </c:pt>
                      <c:pt idx="35">
                        <c:v>133.05000000000001</c:v>
                      </c:pt>
                      <c:pt idx="36">
                        <c:v>136.26</c:v>
                      </c:pt>
                      <c:pt idx="37">
                        <c:v>139.16</c:v>
                      </c:pt>
                      <c:pt idx="38">
                        <c:v>140.66999999999999</c:v>
                      </c:pt>
                      <c:pt idx="39">
                        <c:v>143.35</c:v>
                      </c:pt>
                      <c:pt idx="40">
                        <c:v>146.08000000000001</c:v>
                      </c:pt>
                      <c:pt idx="41">
                        <c:v>150.09</c:v>
                      </c:pt>
                      <c:pt idx="42">
                        <c:v>153.99</c:v>
                      </c:pt>
                      <c:pt idx="43">
                        <c:v>157.18</c:v>
                      </c:pt>
                      <c:pt idx="44">
                        <c:v>159.69999999999999</c:v>
                      </c:pt>
                      <c:pt idx="45">
                        <c:v>157.12</c:v>
                      </c:pt>
                      <c:pt idx="46">
                        <c:v>161.38</c:v>
                      </c:pt>
                      <c:pt idx="47">
                        <c:v>160.28</c:v>
                      </c:pt>
                      <c:pt idx="48">
                        <c:v>168.67</c:v>
                      </c:pt>
                      <c:pt idx="49">
                        <c:v>172.57</c:v>
                      </c:pt>
                      <c:pt idx="50">
                        <c:v>174.33</c:v>
                      </c:pt>
                      <c:pt idx="51">
                        <c:v>176.77</c:v>
                      </c:pt>
                      <c:pt idx="52">
                        <c:v>177.73</c:v>
                      </c:pt>
                      <c:pt idx="53">
                        <c:v>178.9</c:v>
                      </c:pt>
                      <c:pt idx="54">
                        <c:v>179.5</c:v>
                      </c:pt>
                      <c:pt idx="55">
                        <c:v>185.57</c:v>
                      </c:pt>
                      <c:pt idx="56">
                        <c:v>183.24</c:v>
                      </c:pt>
                      <c:pt idx="57">
                        <c:v>183.38</c:v>
                      </c:pt>
                      <c:pt idx="58">
                        <c:v>183.21</c:v>
                      </c:pt>
                      <c:pt idx="59">
                        <c:v>181.78</c:v>
                      </c:pt>
                      <c:pt idx="60">
                        <c:v>185.18</c:v>
                      </c:pt>
                      <c:pt idx="61">
                        <c:v>190.41</c:v>
                      </c:pt>
                      <c:pt idx="62">
                        <c:v>190.93</c:v>
                      </c:pt>
                      <c:pt idx="63">
                        <c:v>189.96</c:v>
                      </c:pt>
                      <c:pt idx="64">
                        <c:v>190.23</c:v>
                      </c:pt>
                      <c:pt idx="65">
                        <c:v>189.79</c:v>
                      </c:pt>
                      <c:pt idx="66">
                        <c:v>183.82</c:v>
                      </c:pt>
                      <c:pt idx="67">
                        <c:v>190.08</c:v>
                      </c:pt>
                      <c:pt idx="68">
                        <c:v>186.45</c:v>
                      </c:pt>
                      <c:pt idx="69">
                        <c:v>177.75</c:v>
                      </c:pt>
                      <c:pt idx="70">
                        <c:v>172.24</c:v>
                      </c:pt>
                      <c:pt idx="71">
                        <c:v>165.96</c:v>
                      </c:pt>
                      <c:pt idx="72">
                        <c:v>175.61</c:v>
                      </c:pt>
                      <c:pt idx="73">
                        <c:v>177.79</c:v>
                      </c:pt>
                      <c:pt idx="74">
                        <c:v>178.72</c:v>
                      </c:pt>
                      <c:pt idx="75">
                        <c:v>180.04</c:v>
                      </c:pt>
                      <c:pt idx="76">
                        <c:v>184.09</c:v>
                      </c:pt>
                      <c:pt idx="77">
                        <c:v>185.32</c:v>
                      </c:pt>
                      <c:pt idx="78">
                        <c:v>187.27</c:v>
                      </c:pt>
                      <c:pt idx="79">
                        <c:v>192.49</c:v>
                      </c:pt>
                      <c:pt idx="80">
                        <c:v>189.78</c:v>
                      </c:pt>
                      <c:pt idx="81">
                        <c:v>191.11</c:v>
                      </c:pt>
                      <c:pt idx="82">
                        <c:v>190.63</c:v>
                      </c:pt>
                      <c:pt idx="83">
                        <c:v>190.32</c:v>
                      </c:pt>
                      <c:pt idx="84">
                        <c:v>195.78</c:v>
                      </c:pt>
                      <c:pt idx="85">
                        <c:v>198.66</c:v>
                      </c:pt>
                      <c:pt idx="86">
                        <c:v>198.76</c:v>
                      </c:pt>
                      <c:pt idx="87">
                        <c:v>201.13</c:v>
                      </c:pt>
                      <c:pt idx="88">
                        <c:v>201.92</c:v>
                      </c:pt>
                      <c:pt idx="89">
                        <c:v>199.96</c:v>
                      </c:pt>
                      <c:pt idx="90">
                        <c:v>199.58</c:v>
                      </c:pt>
                      <c:pt idx="91">
                        <c:v>200.73</c:v>
                      </c:pt>
                      <c:pt idx="92">
                        <c:v>201.04</c:v>
                      </c:pt>
                      <c:pt idx="93">
                        <c:v>203.02</c:v>
                      </c:pt>
                      <c:pt idx="94">
                        <c:v>201.77</c:v>
                      </c:pt>
                      <c:pt idx="95">
                        <c:v>198.52</c:v>
                      </c:pt>
                      <c:pt idx="96">
                        <c:v>205.81</c:v>
                      </c:pt>
                      <c:pt idx="97">
                        <c:v>211.22</c:v>
                      </c:pt>
                      <c:pt idx="98">
                        <c:v>211.82</c:v>
                      </c:pt>
                      <c:pt idx="99">
                        <c:v>211.91</c:v>
                      </c:pt>
                      <c:pt idx="100">
                        <c:v>213.89</c:v>
                      </c:pt>
                      <c:pt idx="101">
                        <c:v>210.44</c:v>
                      </c:pt>
                      <c:pt idx="102">
                        <c:v>211.33</c:v>
                      </c:pt>
                      <c:pt idx="103">
                        <c:v>213.89</c:v>
                      </c:pt>
                      <c:pt idx="104">
                        <c:v>210.82</c:v>
                      </c:pt>
                      <c:pt idx="105">
                        <c:v>210.11</c:v>
                      </c:pt>
                      <c:pt idx="106">
                        <c:v>208.9</c:v>
                      </c:pt>
                      <c:pt idx="107">
                        <c:v>203.8</c:v>
                      </c:pt>
                      <c:pt idx="108">
                        <c:v>210.29</c:v>
                      </c:pt>
                      <c:pt idx="109">
                        <c:v>211.57</c:v>
                      </c:pt>
                      <c:pt idx="110">
                        <c:v>212.33</c:v>
                      </c:pt>
                      <c:pt idx="111">
                        <c:v>213.61</c:v>
                      </c:pt>
                      <c:pt idx="112">
                        <c:v>215.51</c:v>
                      </c:pt>
                      <c:pt idx="113">
                        <c:v>210.57</c:v>
                      </c:pt>
                      <c:pt idx="114">
                        <c:v>211.53</c:v>
                      </c:pt>
                      <c:pt idx="115">
                        <c:v>213.55</c:v>
                      </c:pt>
                      <c:pt idx="116">
                        <c:v>212.8</c:v>
                      </c:pt>
                      <c:pt idx="117">
                        <c:v>213.49</c:v>
                      </c:pt>
                      <c:pt idx="118">
                        <c:v>209.57</c:v>
                      </c:pt>
                      <c:pt idx="119">
                        <c:v>208.12</c:v>
                      </c:pt>
                      <c:pt idx="120">
                        <c:v>214.7</c:v>
                      </c:pt>
                      <c:pt idx="121">
                        <c:v>214.26</c:v>
                      </c:pt>
                      <c:pt idx="122">
                        <c:v>213.19</c:v>
                      </c:pt>
                      <c:pt idx="123">
                        <c:v>214.27</c:v>
                      </c:pt>
                      <c:pt idx="124">
                        <c:v>212.78</c:v>
                      </c:pt>
                      <c:pt idx="125">
                        <c:v>211.89</c:v>
                      </c:pt>
                      <c:pt idx="126">
                        <c:v>204.7</c:v>
                      </c:pt>
                      <c:pt idx="127">
                        <c:v>210.26</c:v>
                      </c:pt>
                      <c:pt idx="128">
                        <c:v>207.71</c:v>
                      </c:pt>
                      <c:pt idx="129">
                        <c:v>204.77</c:v>
                      </c:pt>
                      <c:pt idx="130">
                        <c:v>199.77</c:v>
                      </c:pt>
                      <c:pt idx="131">
                        <c:v>198.52</c:v>
                      </c:pt>
                      <c:pt idx="132">
                        <c:v>202.87</c:v>
                      </c:pt>
                      <c:pt idx="133">
                        <c:v>201.27</c:v>
                      </c:pt>
                      <c:pt idx="134">
                        <c:v>204.44</c:v>
                      </c:pt>
                      <c:pt idx="135">
                        <c:v>205.02</c:v>
                      </c:pt>
                      <c:pt idx="136">
                        <c:v>208.42</c:v>
                      </c:pt>
                      <c:pt idx="137">
                        <c:v>205.5</c:v>
                      </c:pt>
                      <c:pt idx="138">
                        <c:v>204.61</c:v>
                      </c:pt>
                      <c:pt idx="139">
                        <c:v>208.43</c:v>
                      </c:pt>
                      <c:pt idx="140">
                        <c:v>209.29</c:v>
                      </c:pt>
                      <c:pt idx="141">
                        <c:v>205.19</c:v>
                      </c:pt>
                      <c:pt idx="142">
                        <c:v>206.78</c:v>
                      </c:pt>
                      <c:pt idx="143">
                        <c:v>207.17</c:v>
                      </c:pt>
                      <c:pt idx="144">
                        <c:v>211.51</c:v>
                      </c:pt>
                      <c:pt idx="145">
                        <c:v>210.5</c:v>
                      </c:pt>
                      <c:pt idx="146">
                        <c:v>214.07</c:v>
                      </c:pt>
                      <c:pt idx="147">
                        <c:v>215.67</c:v>
                      </c:pt>
                      <c:pt idx="148">
                        <c:v>216.99</c:v>
                      </c:pt>
                      <c:pt idx="149">
                        <c:v>217.19</c:v>
                      </c:pt>
                      <c:pt idx="150">
                        <c:v>211.98</c:v>
                      </c:pt>
                      <c:pt idx="151">
                        <c:v>215.62</c:v>
                      </c:pt>
                      <c:pt idx="152">
                        <c:v>215.31</c:v>
                      </c:pt>
                      <c:pt idx="153">
                        <c:v>211.99</c:v>
                      </c:pt>
                      <c:pt idx="154">
                        <c:v>214.17</c:v>
                      </c:pt>
                      <c:pt idx="155">
                        <c:v>207.8</c:v>
                      </c:pt>
                      <c:pt idx="156">
                        <c:v>215.58</c:v>
                      </c:pt>
                      <c:pt idx="157">
                        <c:v>213.58</c:v>
                      </c:pt>
                      <c:pt idx="158">
                        <c:v>215.14</c:v>
                      </c:pt>
                      <c:pt idx="159">
                        <c:v>218.43</c:v>
                      </c:pt>
                      <c:pt idx="160">
                        <c:v>217.4</c:v>
                      </c:pt>
                      <c:pt idx="161">
                        <c:v>219.85</c:v>
                      </c:pt>
                      <c:pt idx="162">
                        <c:v>216.67</c:v>
                      </c:pt>
                      <c:pt idx="163">
                        <c:v>219.81</c:v>
                      </c:pt>
                      <c:pt idx="164">
                        <c:v>219.42</c:v>
                      </c:pt>
                      <c:pt idx="165">
                        <c:v>218.14</c:v>
                      </c:pt>
                      <c:pt idx="166">
                        <c:v>219.97</c:v>
                      </c:pt>
                      <c:pt idx="167">
                        <c:v>222.2</c:v>
                      </c:pt>
                      <c:pt idx="168">
                        <c:v>221.45</c:v>
                      </c:pt>
                      <c:pt idx="169">
                        <c:v>221.23</c:v>
                      </c:pt>
                      <c:pt idx="170">
                        <c:v>225.06</c:v>
                      </c:pt>
                      <c:pt idx="171">
                        <c:v>227.05</c:v>
                      </c:pt>
                      <c:pt idx="172">
                        <c:v>226.35</c:v>
                      </c:pt>
                      <c:pt idx="173">
                        <c:v>222.67</c:v>
                      </c:pt>
                      <c:pt idx="174">
                        <c:v>224.53</c:v>
                      </c:pt>
                      <c:pt idx="175">
                        <c:v>221.45</c:v>
                      </c:pt>
                      <c:pt idx="176">
                        <c:v>221.6</c:v>
                      </c:pt>
                      <c:pt idx="177">
                        <c:v>219.87</c:v>
                      </c:pt>
                      <c:pt idx="178">
                        <c:v>219.12</c:v>
                      </c:pt>
                      <c:pt idx="179">
                        <c:v>214.35</c:v>
                      </c:pt>
                      <c:pt idx="180">
                        <c:v>217.26</c:v>
                      </c:pt>
                      <c:pt idx="181">
                        <c:v>221.85</c:v>
                      </c:pt>
                      <c:pt idx="182">
                        <c:v>219.31</c:v>
                      </c:pt>
                      <c:pt idx="183">
                        <c:v>222.68</c:v>
                      </c:pt>
                      <c:pt idx="184">
                        <c:v>225.98</c:v>
                      </c:pt>
                      <c:pt idx="185">
                        <c:v>224.1</c:v>
                      </c:pt>
                      <c:pt idx="186">
                        <c:v>221.07</c:v>
                      </c:pt>
                      <c:pt idx="187">
                        <c:v>226.39</c:v>
                      </c:pt>
                      <c:pt idx="188">
                        <c:v>226.2</c:v>
                      </c:pt>
                      <c:pt idx="189">
                        <c:v>226.14</c:v>
                      </c:pt>
                      <c:pt idx="190">
                        <c:v>222.96</c:v>
                      </c:pt>
                      <c:pt idx="191">
                        <c:v>218.62</c:v>
                      </c:pt>
                      <c:pt idx="192">
                        <c:v>224.43</c:v>
                      </c:pt>
                      <c:pt idx="193">
                        <c:v>222.27</c:v>
                      </c:pt>
                      <c:pt idx="194">
                        <c:v>228.56</c:v>
                      </c:pt>
                      <c:pt idx="195">
                        <c:v>229.23</c:v>
                      </c:pt>
                      <c:pt idx="196">
                        <c:v>231.71</c:v>
                      </c:pt>
                      <c:pt idx="197">
                        <c:v>230.39</c:v>
                      </c:pt>
                      <c:pt idx="198">
                        <c:v>226.61</c:v>
                      </c:pt>
                      <c:pt idx="199">
                        <c:v>231.02</c:v>
                      </c:pt>
                      <c:pt idx="200">
                        <c:v>229.73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Q$1</c15:sqref>
                        </c15:formulaRef>
                      </c:ext>
                    </c:extLst>
                    <c:strCache>
                      <c:ptCount val="1"/>
                      <c:pt idx="0">
                        <c:v>Stavanger m/omegn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Q$2:$Q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0.42</c:v>
                      </c:pt>
                      <c:pt idx="2">
                        <c:v>102.11</c:v>
                      </c:pt>
                      <c:pt idx="3">
                        <c:v>100.55</c:v>
                      </c:pt>
                      <c:pt idx="4">
                        <c:v>104.24</c:v>
                      </c:pt>
                      <c:pt idx="5">
                        <c:v>104.65</c:v>
                      </c:pt>
                      <c:pt idx="6">
                        <c:v>105.62</c:v>
                      </c:pt>
                      <c:pt idx="7">
                        <c:v>106.84</c:v>
                      </c:pt>
                      <c:pt idx="8">
                        <c:v>106.93</c:v>
                      </c:pt>
                      <c:pt idx="9">
                        <c:v>106.47</c:v>
                      </c:pt>
                      <c:pt idx="10">
                        <c:v>107.01</c:v>
                      </c:pt>
                      <c:pt idx="11">
                        <c:v>108.41</c:v>
                      </c:pt>
                      <c:pt idx="12">
                        <c:v>112.57</c:v>
                      </c:pt>
                      <c:pt idx="13">
                        <c:v>110.76</c:v>
                      </c:pt>
                      <c:pt idx="14">
                        <c:v>115.45</c:v>
                      </c:pt>
                      <c:pt idx="15">
                        <c:v>116.01</c:v>
                      </c:pt>
                      <c:pt idx="16">
                        <c:v>117.34</c:v>
                      </c:pt>
                      <c:pt idx="17">
                        <c:v>118.61</c:v>
                      </c:pt>
                      <c:pt idx="18">
                        <c:v>123.28</c:v>
                      </c:pt>
                      <c:pt idx="19">
                        <c:v>120.29</c:v>
                      </c:pt>
                      <c:pt idx="20">
                        <c:v>121.34</c:v>
                      </c:pt>
                      <c:pt idx="21">
                        <c:v>121.5</c:v>
                      </c:pt>
                      <c:pt idx="22">
                        <c:v>121.19</c:v>
                      </c:pt>
                      <c:pt idx="23">
                        <c:v>122.83</c:v>
                      </c:pt>
                      <c:pt idx="24">
                        <c:v>123.62</c:v>
                      </c:pt>
                      <c:pt idx="25">
                        <c:v>125.81</c:v>
                      </c:pt>
                      <c:pt idx="26">
                        <c:v>127.12</c:v>
                      </c:pt>
                      <c:pt idx="27">
                        <c:v>127.96</c:v>
                      </c:pt>
                      <c:pt idx="28">
                        <c:v>131.22</c:v>
                      </c:pt>
                      <c:pt idx="29">
                        <c:v>132.13999999999999</c:v>
                      </c:pt>
                      <c:pt idx="30">
                        <c:v>135.79</c:v>
                      </c:pt>
                      <c:pt idx="31">
                        <c:v>135.36000000000001</c:v>
                      </c:pt>
                      <c:pt idx="32">
                        <c:v>135.72</c:v>
                      </c:pt>
                      <c:pt idx="33">
                        <c:v>139.27000000000001</c:v>
                      </c:pt>
                      <c:pt idx="34">
                        <c:v>138.81</c:v>
                      </c:pt>
                      <c:pt idx="35">
                        <c:v>138.43</c:v>
                      </c:pt>
                      <c:pt idx="36">
                        <c:v>142.21</c:v>
                      </c:pt>
                      <c:pt idx="37">
                        <c:v>145.68</c:v>
                      </c:pt>
                      <c:pt idx="38">
                        <c:v>146.88999999999999</c:v>
                      </c:pt>
                      <c:pt idx="39">
                        <c:v>150.12</c:v>
                      </c:pt>
                      <c:pt idx="40">
                        <c:v>153.85</c:v>
                      </c:pt>
                      <c:pt idx="41">
                        <c:v>158.38999999999999</c:v>
                      </c:pt>
                      <c:pt idx="42">
                        <c:v>161.6</c:v>
                      </c:pt>
                      <c:pt idx="43">
                        <c:v>166.32</c:v>
                      </c:pt>
                      <c:pt idx="44">
                        <c:v>169.09</c:v>
                      </c:pt>
                      <c:pt idx="45">
                        <c:v>170.16</c:v>
                      </c:pt>
                      <c:pt idx="46">
                        <c:v>175.95</c:v>
                      </c:pt>
                      <c:pt idx="47">
                        <c:v>175.1</c:v>
                      </c:pt>
                      <c:pt idx="48">
                        <c:v>185.28</c:v>
                      </c:pt>
                      <c:pt idx="49">
                        <c:v>190.91</c:v>
                      </c:pt>
                      <c:pt idx="50">
                        <c:v>194.88</c:v>
                      </c:pt>
                      <c:pt idx="51">
                        <c:v>198.44</c:v>
                      </c:pt>
                      <c:pt idx="52">
                        <c:v>200.15</c:v>
                      </c:pt>
                      <c:pt idx="53">
                        <c:v>201.71</c:v>
                      </c:pt>
                      <c:pt idx="54">
                        <c:v>202.38</c:v>
                      </c:pt>
                      <c:pt idx="55">
                        <c:v>207.67</c:v>
                      </c:pt>
                      <c:pt idx="56">
                        <c:v>205.78</c:v>
                      </c:pt>
                      <c:pt idx="57">
                        <c:v>200.46</c:v>
                      </c:pt>
                      <c:pt idx="58">
                        <c:v>200.29</c:v>
                      </c:pt>
                      <c:pt idx="59">
                        <c:v>198.33</c:v>
                      </c:pt>
                      <c:pt idx="60">
                        <c:v>201.84</c:v>
                      </c:pt>
                      <c:pt idx="61">
                        <c:v>207.41</c:v>
                      </c:pt>
                      <c:pt idx="62">
                        <c:v>208.21</c:v>
                      </c:pt>
                      <c:pt idx="63">
                        <c:v>207.52</c:v>
                      </c:pt>
                      <c:pt idx="64">
                        <c:v>207.47</c:v>
                      </c:pt>
                      <c:pt idx="65">
                        <c:v>206.73</c:v>
                      </c:pt>
                      <c:pt idx="66">
                        <c:v>200.26</c:v>
                      </c:pt>
                      <c:pt idx="67">
                        <c:v>206.41</c:v>
                      </c:pt>
                      <c:pt idx="68">
                        <c:v>202.57</c:v>
                      </c:pt>
                      <c:pt idx="69">
                        <c:v>193.8</c:v>
                      </c:pt>
                      <c:pt idx="70">
                        <c:v>188.22</c:v>
                      </c:pt>
                      <c:pt idx="71">
                        <c:v>181.37</c:v>
                      </c:pt>
                      <c:pt idx="72">
                        <c:v>191.78</c:v>
                      </c:pt>
                      <c:pt idx="73">
                        <c:v>193.93</c:v>
                      </c:pt>
                      <c:pt idx="74">
                        <c:v>194.33</c:v>
                      </c:pt>
                      <c:pt idx="75">
                        <c:v>195.45</c:v>
                      </c:pt>
                      <c:pt idx="76">
                        <c:v>200.9</c:v>
                      </c:pt>
                      <c:pt idx="77">
                        <c:v>202.37</c:v>
                      </c:pt>
                      <c:pt idx="78">
                        <c:v>204.33</c:v>
                      </c:pt>
                      <c:pt idx="79">
                        <c:v>209.87</c:v>
                      </c:pt>
                      <c:pt idx="80">
                        <c:v>206.59</c:v>
                      </c:pt>
                      <c:pt idx="81">
                        <c:v>208.82</c:v>
                      </c:pt>
                      <c:pt idx="82">
                        <c:v>208.79</c:v>
                      </c:pt>
                      <c:pt idx="83">
                        <c:v>208.87</c:v>
                      </c:pt>
                      <c:pt idx="84">
                        <c:v>215.3</c:v>
                      </c:pt>
                      <c:pt idx="85">
                        <c:v>219.66</c:v>
                      </c:pt>
                      <c:pt idx="86">
                        <c:v>221.68</c:v>
                      </c:pt>
                      <c:pt idx="87">
                        <c:v>225.65</c:v>
                      </c:pt>
                      <c:pt idx="88">
                        <c:v>228.77</c:v>
                      </c:pt>
                      <c:pt idx="89">
                        <c:v>228.29</c:v>
                      </c:pt>
                      <c:pt idx="90">
                        <c:v>228.47</c:v>
                      </c:pt>
                      <c:pt idx="91">
                        <c:v>231.27</c:v>
                      </c:pt>
                      <c:pt idx="92">
                        <c:v>233.63</c:v>
                      </c:pt>
                      <c:pt idx="93">
                        <c:v>237.07</c:v>
                      </c:pt>
                      <c:pt idx="94">
                        <c:v>237.15</c:v>
                      </c:pt>
                      <c:pt idx="95">
                        <c:v>233.7</c:v>
                      </c:pt>
                      <c:pt idx="96">
                        <c:v>243.39</c:v>
                      </c:pt>
                      <c:pt idx="97">
                        <c:v>250.69</c:v>
                      </c:pt>
                      <c:pt idx="98">
                        <c:v>253.93</c:v>
                      </c:pt>
                      <c:pt idx="99">
                        <c:v>255.22</c:v>
                      </c:pt>
                      <c:pt idx="100">
                        <c:v>258.25</c:v>
                      </c:pt>
                      <c:pt idx="101">
                        <c:v>255.35</c:v>
                      </c:pt>
                      <c:pt idx="102">
                        <c:v>256.52999999999997</c:v>
                      </c:pt>
                      <c:pt idx="103">
                        <c:v>260.20999999999998</c:v>
                      </c:pt>
                      <c:pt idx="104">
                        <c:v>258.01</c:v>
                      </c:pt>
                      <c:pt idx="105">
                        <c:v>257.93</c:v>
                      </c:pt>
                      <c:pt idx="106">
                        <c:v>258.06</c:v>
                      </c:pt>
                      <c:pt idx="107">
                        <c:v>252.91</c:v>
                      </c:pt>
                      <c:pt idx="108">
                        <c:v>262.48</c:v>
                      </c:pt>
                      <c:pt idx="109">
                        <c:v>265.63</c:v>
                      </c:pt>
                      <c:pt idx="110">
                        <c:v>267.77999999999997</c:v>
                      </c:pt>
                      <c:pt idx="111">
                        <c:v>270.33</c:v>
                      </c:pt>
                      <c:pt idx="112">
                        <c:v>274.51</c:v>
                      </c:pt>
                      <c:pt idx="113">
                        <c:v>269.86</c:v>
                      </c:pt>
                      <c:pt idx="114">
                        <c:v>272.76</c:v>
                      </c:pt>
                      <c:pt idx="115">
                        <c:v>278.44</c:v>
                      </c:pt>
                      <c:pt idx="116">
                        <c:v>280.04000000000002</c:v>
                      </c:pt>
                      <c:pt idx="117">
                        <c:v>282.56</c:v>
                      </c:pt>
                      <c:pt idx="118">
                        <c:v>279.13</c:v>
                      </c:pt>
                      <c:pt idx="119">
                        <c:v>277.14</c:v>
                      </c:pt>
                      <c:pt idx="120">
                        <c:v>286.48</c:v>
                      </c:pt>
                      <c:pt idx="121">
                        <c:v>287.14</c:v>
                      </c:pt>
                      <c:pt idx="122">
                        <c:v>286.93</c:v>
                      </c:pt>
                      <c:pt idx="123">
                        <c:v>290.5</c:v>
                      </c:pt>
                      <c:pt idx="124">
                        <c:v>290.3</c:v>
                      </c:pt>
                      <c:pt idx="125">
                        <c:v>289.87</c:v>
                      </c:pt>
                      <c:pt idx="126">
                        <c:v>279.94</c:v>
                      </c:pt>
                      <c:pt idx="127">
                        <c:v>287.56</c:v>
                      </c:pt>
                      <c:pt idx="128">
                        <c:v>284.64999999999998</c:v>
                      </c:pt>
                      <c:pt idx="129">
                        <c:v>281.62</c:v>
                      </c:pt>
                      <c:pt idx="130">
                        <c:v>274.33</c:v>
                      </c:pt>
                      <c:pt idx="131">
                        <c:v>272.70999999999998</c:v>
                      </c:pt>
                      <c:pt idx="132">
                        <c:v>278.87</c:v>
                      </c:pt>
                      <c:pt idx="133">
                        <c:v>276.24</c:v>
                      </c:pt>
                      <c:pt idx="134">
                        <c:v>279.75</c:v>
                      </c:pt>
                      <c:pt idx="135">
                        <c:v>279.33</c:v>
                      </c:pt>
                      <c:pt idx="136">
                        <c:v>282.70999999999998</c:v>
                      </c:pt>
                      <c:pt idx="137">
                        <c:v>278.79000000000002</c:v>
                      </c:pt>
                      <c:pt idx="138">
                        <c:v>276.35000000000002</c:v>
                      </c:pt>
                      <c:pt idx="139">
                        <c:v>281.45999999999998</c:v>
                      </c:pt>
                      <c:pt idx="140">
                        <c:v>280.63</c:v>
                      </c:pt>
                      <c:pt idx="141">
                        <c:v>273.83</c:v>
                      </c:pt>
                      <c:pt idx="142">
                        <c:v>274.99</c:v>
                      </c:pt>
                      <c:pt idx="143">
                        <c:v>275.57</c:v>
                      </c:pt>
                      <c:pt idx="144">
                        <c:v>280.16000000000003</c:v>
                      </c:pt>
                      <c:pt idx="145">
                        <c:v>277.17</c:v>
                      </c:pt>
                      <c:pt idx="146">
                        <c:v>279.95999999999998</c:v>
                      </c:pt>
                      <c:pt idx="147">
                        <c:v>280.17</c:v>
                      </c:pt>
                      <c:pt idx="148">
                        <c:v>279.22000000000003</c:v>
                      </c:pt>
                      <c:pt idx="149">
                        <c:v>276.83</c:v>
                      </c:pt>
                      <c:pt idx="150">
                        <c:v>269.88</c:v>
                      </c:pt>
                      <c:pt idx="151">
                        <c:v>271.86</c:v>
                      </c:pt>
                      <c:pt idx="152">
                        <c:v>268.77999999999997</c:v>
                      </c:pt>
                      <c:pt idx="153">
                        <c:v>261.93</c:v>
                      </c:pt>
                      <c:pt idx="154">
                        <c:v>262.68</c:v>
                      </c:pt>
                      <c:pt idx="155">
                        <c:v>253.41</c:v>
                      </c:pt>
                      <c:pt idx="156">
                        <c:v>260.7</c:v>
                      </c:pt>
                      <c:pt idx="157">
                        <c:v>256.76</c:v>
                      </c:pt>
                      <c:pt idx="158">
                        <c:v>256.16000000000003</c:v>
                      </c:pt>
                      <c:pt idx="159">
                        <c:v>256.86</c:v>
                      </c:pt>
                      <c:pt idx="160">
                        <c:v>253.54</c:v>
                      </c:pt>
                      <c:pt idx="161">
                        <c:v>254</c:v>
                      </c:pt>
                      <c:pt idx="162">
                        <c:v>249.49</c:v>
                      </c:pt>
                      <c:pt idx="163">
                        <c:v>252.03</c:v>
                      </c:pt>
                      <c:pt idx="164">
                        <c:v>251.11</c:v>
                      </c:pt>
                      <c:pt idx="165">
                        <c:v>249.75</c:v>
                      </c:pt>
                      <c:pt idx="166">
                        <c:v>251.67</c:v>
                      </c:pt>
                      <c:pt idx="167">
                        <c:v>254.01</c:v>
                      </c:pt>
                      <c:pt idx="168">
                        <c:v>253.56</c:v>
                      </c:pt>
                      <c:pt idx="169">
                        <c:v>254.1</c:v>
                      </c:pt>
                      <c:pt idx="170">
                        <c:v>258.81</c:v>
                      </c:pt>
                      <c:pt idx="171">
                        <c:v>262.14</c:v>
                      </c:pt>
                      <c:pt idx="172">
                        <c:v>262.33</c:v>
                      </c:pt>
                      <c:pt idx="173">
                        <c:v>258.49</c:v>
                      </c:pt>
                      <c:pt idx="174">
                        <c:v>260.8</c:v>
                      </c:pt>
                      <c:pt idx="175">
                        <c:v>257.58999999999997</c:v>
                      </c:pt>
                      <c:pt idx="176">
                        <c:v>257.72000000000003</c:v>
                      </c:pt>
                      <c:pt idx="177">
                        <c:v>255.27</c:v>
                      </c:pt>
                      <c:pt idx="178">
                        <c:v>254.3</c:v>
                      </c:pt>
                      <c:pt idx="179">
                        <c:v>248.76</c:v>
                      </c:pt>
                      <c:pt idx="180">
                        <c:v>251.33</c:v>
                      </c:pt>
                      <c:pt idx="181">
                        <c:v>255.89</c:v>
                      </c:pt>
                      <c:pt idx="182">
                        <c:v>253.65</c:v>
                      </c:pt>
                      <c:pt idx="183">
                        <c:v>256.88</c:v>
                      </c:pt>
                      <c:pt idx="184">
                        <c:v>260.3</c:v>
                      </c:pt>
                      <c:pt idx="185">
                        <c:v>257.77</c:v>
                      </c:pt>
                      <c:pt idx="186">
                        <c:v>253.61</c:v>
                      </c:pt>
                      <c:pt idx="187">
                        <c:v>259.20999999999998</c:v>
                      </c:pt>
                      <c:pt idx="188">
                        <c:v>258.39</c:v>
                      </c:pt>
                      <c:pt idx="189">
                        <c:v>257.83</c:v>
                      </c:pt>
                      <c:pt idx="190">
                        <c:v>254.96</c:v>
                      </c:pt>
                      <c:pt idx="191">
                        <c:v>249.82</c:v>
                      </c:pt>
                      <c:pt idx="192">
                        <c:v>256.73</c:v>
                      </c:pt>
                      <c:pt idx="193">
                        <c:v>253.79</c:v>
                      </c:pt>
                      <c:pt idx="194">
                        <c:v>259.98</c:v>
                      </c:pt>
                      <c:pt idx="195">
                        <c:v>260.08999999999997</c:v>
                      </c:pt>
                      <c:pt idx="196">
                        <c:v>261.67</c:v>
                      </c:pt>
                      <c:pt idx="197">
                        <c:v>259.64999999999998</c:v>
                      </c:pt>
                      <c:pt idx="198">
                        <c:v>255.52</c:v>
                      </c:pt>
                      <c:pt idx="199">
                        <c:v>259.19</c:v>
                      </c:pt>
                      <c:pt idx="200">
                        <c:v>256.63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R$1</c15:sqref>
                        </c15:formulaRef>
                      </c:ext>
                    </c:extLst>
                    <c:strCache>
                      <c:ptCount val="1"/>
                      <c:pt idx="0">
                        <c:v>Agder og Rogaland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R$2:$R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0.17</c:v>
                      </c:pt>
                      <c:pt idx="2">
                        <c:v>101.87</c:v>
                      </c:pt>
                      <c:pt idx="3">
                        <c:v>99.95</c:v>
                      </c:pt>
                      <c:pt idx="4">
                        <c:v>103.4</c:v>
                      </c:pt>
                      <c:pt idx="5">
                        <c:v>103.65</c:v>
                      </c:pt>
                      <c:pt idx="6">
                        <c:v>104.81</c:v>
                      </c:pt>
                      <c:pt idx="7">
                        <c:v>105.96</c:v>
                      </c:pt>
                      <c:pt idx="8">
                        <c:v>105.71</c:v>
                      </c:pt>
                      <c:pt idx="9">
                        <c:v>105.16</c:v>
                      </c:pt>
                      <c:pt idx="10">
                        <c:v>105.58</c:v>
                      </c:pt>
                      <c:pt idx="11">
                        <c:v>106.79</c:v>
                      </c:pt>
                      <c:pt idx="12">
                        <c:v>110.92</c:v>
                      </c:pt>
                      <c:pt idx="13">
                        <c:v>108.86</c:v>
                      </c:pt>
                      <c:pt idx="14">
                        <c:v>113.15</c:v>
                      </c:pt>
                      <c:pt idx="15">
                        <c:v>113.96</c:v>
                      </c:pt>
                      <c:pt idx="16">
                        <c:v>115.08</c:v>
                      </c:pt>
                      <c:pt idx="17">
                        <c:v>116.51</c:v>
                      </c:pt>
                      <c:pt idx="18">
                        <c:v>121.09</c:v>
                      </c:pt>
                      <c:pt idx="19">
                        <c:v>117.77</c:v>
                      </c:pt>
                      <c:pt idx="20">
                        <c:v>118.67</c:v>
                      </c:pt>
                      <c:pt idx="21">
                        <c:v>118.7</c:v>
                      </c:pt>
                      <c:pt idx="22">
                        <c:v>118.15</c:v>
                      </c:pt>
                      <c:pt idx="23">
                        <c:v>119.69</c:v>
                      </c:pt>
                      <c:pt idx="24">
                        <c:v>120</c:v>
                      </c:pt>
                      <c:pt idx="25">
                        <c:v>121.62</c:v>
                      </c:pt>
                      <c:pt idx="26">
                        <c:v>122.75</c:v>
                      </c:pt>
                      <c:pt idx="27">
                        <c:v>122.89</c:v>
                      </c:pt>
                      <c:pt idx="28">
                        <c:v>125.91</c:v>
                      </c:pt>
                      <c:pt idx="29">
                        <c:v>126.44</c:v>
                      </c:pt>
                      <c:pt idx="30">
                        <c:v>130.08000000000001</c:v>
                      </c:pt>
                      <c:pt idx="31">
                        <c:v>129.62</c:v>
                      </c:pt>
                      <c:pt idx="32">
                        <c:v>129.99</c:v>
                      </c:pt>
                      <c:pt idx="33">
                        <c:v>133.6</c:v>
                      </c:pt>
                      <c:pt idx="34">
                        <c:v>133.26</c:v>
                      </c:pt>
                      <c:pt idx="35">
                        <c:v>133.11000000000001</c:v>
                      </c:pt>
                      <c:pt idx="36">
                        <c:v>136.44</c:v>
                      </c:pt>
                      <c:pt idx="37">
                        <c:v>139.83000000000001</c:v>
                      </c:pt>
                      <c:pt idx="38">
                        <c:v>140.91</c:v>
                      </c:pt>
                      <c:pt idx="39">
                        <c:v>143.77000000000001</c:v>
                      </c:pt>
                      <c:pt idx="40">
                        <c:v>146.6</c:v>
                      </c:pt>
                      <c:pt idx="41">
                        <c:v>150.27000000000001</c:v>
                      </c:pt>
                      <c:pt idx="42">
                        <c:v>153.63</c:v>
                      </c:pt>
                      <c:pt idx="43">
                        <c:v>157.51</c:v>
                      </c:pt>
                      <c:pt idx="44">
                        <c:v>159.38999999999999</c:v>
                      </c:pt>
                      <c:pt idx="45">
                        <c:v>158.66999999999999</c:v>
                      </c:pt>
                      <c:pt idx="46">
                        <c:v>163.24</c:v>
                      </c:pt>
                      <c:pt idx="47">
                        <c:v>162.27000000000001</c:v>
                      </c:pt>
                      <c:pt idx="48">
                        <c:v>170.89</c:v>
                      </c:pt>
                      <c:pt idx="49">
                        <c:v>174.94</c:v>
                      </c:pt>
                      <c:pt idx="50">
                        <c:v>177.36</c:v>
                      </c:pt>
                      <c:pt idx="51">
                        <c:v>180.06</c:v>
                      </c:pt>
                      <c:pt idx="52">
                        <c:v>181.22</c:v>
                      </c:pt>
                      <c:pt idx="53">
                        <c:v>182.92</c:v>
                      </c:pt>
                      <c:pt idx="54">
                        <c:v>183.66</c:v>
                      </c:pt>
                      <c:pt idx="55">
                        <c:v>188.86</c:v>
                      </c:pt>
                      <c:pt idx="56">
                        <c:v>187.13</c:v>
                      </c:pt>
                      <c:pt idx="57">
                        <c:v>183.96</c:v>
                      </c:pt>
                      <c:pt idx="58">
                        <c:v>183.7</c:v>
                      </c:pt>
                      <c:pt idx="59">
                        <c:v>182.17</c:v>
                      </c:pt>
                      <c:pt idx="60">
                        <c:v>185.37</c:v>
                      </c:pt>
                      <c:pt idx="61">
                        <c:v>190.84</c:v>
                      </c:pt>
                      <c:pt idx="62">
                        <c:v>191.87</c:v>
                      </c:pt>
                      <c:pt idx="63">
                        <c:v>191.01</c:v>
                      </c:pt>
                      <c:pt idx="64">
                        <c:v>191.37</c:v>
                      </c:pt>
                      <c:pt idx="65">
                        <c:v>190.92</c:v>
                      </c:pt>
                      <c:pt idx="66">
                        <c:v>185.01</c:v>
                      </c:pt>
                      <c:pt idx="67">
                        <c:v>191.15</c:v>
                      </c:pt>
                      <c:pt idx="68">
                        <c:v>187.65</c:v>
                      </c:pt>
                      <c:pt idx="69">
                        <c:v>179.52</c:v>
                      </c:pt>
                      <c:pt idx="70">
                        <c:v>174.24</c:v>
                      </c:pt>
                      <c:pt idx="71">
                        <c:v>167.94</c:v>
                      </c:pt>
                      <c:pt idx="72">
                        <c:v>177.89</c:v>
                      </c:pt>
                      <c:pt idx="73">
                        <c:v>180.15</c:v>
                      </c:pt>
                      <c:pt idx="74">
                        <c:v>180.81</c:v>
                      </c:pt>
                      <c:pt idx="75">
                        <c:v>182.32</c:v>
                      </c:pt>
                      <c:pt idx="76">
                        <c:v>187.16</c:v>
                      </c:pt>
                      <c:pt idx="77">
                        <c:v>188.52</c:v>
                      </c:pt>
                      <c:pt idx="78">
                        <c:v>190.37</c:v>
                      </c:pt>
                      <c:pt idx="79">
                        <c:v>195.29</c:v>
                      </c:pt>
                      <c:pt idx="80">
                        <c:v>191.98</c:v>
                      </c:pt>
                      <c:pt idx="81">
                        <c:v>193.52</c:v>
                      </c:pt>
                      <c:pt idx="82">
                        <c:v>193.25</c:v>
                      </c:pt>
                      <c:pt idx="83">
                        <c:v>193.18</c:v>
                      </c:pt>
                      <c:pt idx="84">
                        <c:v>198.78</c:v>
                      </c:pt>
                      <c:pt idx="85">
                        <c:v>202.13</c:v>
                      </c:pt>
                      <c:pt idx="86">
                        <c:v>203.04</c:v>
                      </c:pt>
                      <c:pt idx="87">
                        <c:v>206.05</c:v>
                      </c:pt>
                      <c:pt idx="88">
                        <c:v>207.88</c:v>
                      </c:pt>
                      <c:pt idx="89">
                        <c:v>206.96</c:v>
                      </c:pt>
                      <c:pt idx="90">
                        <c:v>206.94</c:v>
                      </c:pt>
                      <c:pt idx="91">
                        <c:v>208.81</c:v>
                      </c:pt>
                      <c:pt idx="92">
                        <c:v>210.15</c:v>
                      </c:pt>
                      <c:pt idx="93">
                        <c:v>212.82</c:v>
                      </c:pt>
                      <c:pt idx="94">
                        <c:v>211.91</c:v>
                      </c:pt>
                      <c:pt idx="95">
                        <c:v>208.65</c:v>
                      </c:pt>
                      <c:pt idx="96">
                        <c:v>216.73</c:v>
                      </c:pt>
                      <c:pt idx="97">
                        <c:v>222.79</c:v>
                      </c:pt>
                      <c:pt idx="98">
                        <c:v>224.71</c:v>
                      </c:pt>
                      <c:pt idx="99">
                        <c:v>225.47</c:v>
                      </c:pt>
                      <c:pt idx="100">
                        <c:v>228.09</c:v>
                      </c:pt>
                      <c:pt idx="101">
                        <c:v>224.94</c:v>
                      </c:pt>
                      <c:pt idx="102">
                        <c:v>225.91</c:v>
                      </c:pt>
                      <c:pt idx="103">
                        <c:v>229.03</c:v>
                      </c:pt>
                      <c:pt idx="104">
                        <c:v>226.65</c:v>
                      </c:pt>
                      <c:pt idx="105">
                        <c:v>226.36</c:v>
                      </c:pt>
                      <c:pt idx="106">
                        <c:v>225.84</c:v>
                      </c:pt>
                      <c:pt idx="107">
                        <c:v>220.99</c:v>
                      </c:pt>
                      <c:pt idx="108">
                        <c:v>228.95</c:v>
                      </c:pt>
                      <c:pt idx="109">
                        <c:v>231.35</c:v>
                      </c:pt>
                      <c:pt idx="110">
                        <c:v>232.81</c:v>
                      </c:pt>
                      <c:pt idx="111">
                        <c:v>234.45</c:v>
                      </c:pt>
                      <c:pt idx="112">
                        <c:v>237.36</c:v>
                      </c:pt>
                      <c:pt idx="113">
                        <c:v>232.78</c:v>
                      </c:pt>
                      <c:pt idx="114">
                        <c:v>234.99</c:v>
                      </c:pt>
                      <c:pt idx="115">
                        <c:v>238.95</c:v>
                      </c:pt>
                      <c:pt idx="116">
                        <c:v>239.4</c:v>
                      </c:pt>
                      <c:pt idx="117">
                        <c:v>240.99</c:v>
                      </c:pt>
                      <c:pt idx="118">
                        <c:v>237.83</c:v>
                      </c:pt>
                      <c:pt idx="119">
                        <c:v>236.28</c:v>
                      </c:pt>
                      <c:pt idx="120">
                        <c:v>244.03</c:v>
                      </c:pt>
                      <c:pt idx="121">
                        <c:v>244.19</c:v>
                      </c:pt>
                      <c:pt idx="122">
                        <c:v>243.8</c:v>
                      </c:pt>
                      <c:pt idx="123">
                        <c:v>246.35</c:v>
                      </c:pt>
                      <c:pt idx="124">
                        <c:v>245.84</c:v>
                      </c:pt>
                      <c:pt idx="125">
                        <c:v>245.57</c:v>
                      </c:pt>
                      <c:pt idx="126">
                        <c:v>237.23</c:v>
                      </c:pt>
                      <c:pt idx="127">
                        <c:v>243.97</c:v>
                      </c:pt>
                      <c:pt idx="128">
                        <c:v>241.71</c:v>
                      </c:pt>
                      <c:pt idx="129">
                        <c:v>239.25</c:v>
                      </c:pt>
                      <c:pt idx="130">
                        <c:v>233.23</c:v>
                      </c:pt>
                      <c:pt idx="131">
                        <c:v>231.88</c:v>
                      </c:pt>
                      <c:pt idx="132">
                        <c:v>237.35</c:v>
                      </c:pt>
                      <c:pt idx="133">
                        <c:v>235.52</c:v>
                      </c:pt>
                      <c:pt idx="134">
                        <c:v>238.85</c:v>
                      </c:pt>
                      <c:pt idx="135">
                        <c:v>239.1</c:v>
                      </c:pt>
                      <c:pt idx="136">
                        <c:v>242.63</c:v>
                      </c:pt>
                      <c:pt idx="137">
                        <c:v>239.37</c:v>
                      </c:pt>
                      <c:pt idx="138">
                        <c:v>237.58</c:v>
                      </c:pt>
                      <c:pt idx="139">
                        <c:v>242.01</c:v>
                      </c:pt>
                      <c:pt idx="140">
                        <c:v>241.88</c:v>
                      </c:pt>
                      <c:pt idx="141">
                        <c:v>236.52</c:v>
                      </c:pt>
                      <c:pt idx="142">
                        <c:v>237.79</c:v>
                      </c:pt>
                      <c:pt idx="143">
                        <c:v>238.41</c:v>
                      </c:pt>
                      <c:pt idx="144">
                        <c:v>242.56</c:v>
                      </c:pt>
                      <c:pt idx="145">
                        <c:v>240.42</c:v>
                      </c:pt>
                      <c:pt idx="146">
                        <c:v>243.32</c:v>
                      </c:pt>
                      <c:pt idx="147">
                        <c:v>244.15</c:v>
                      </c:pt>
                      <c:pt idx="148">
                        <c:v>243.95</c:v>
                      </c:pt>
                      <c:pt idx="149">
                        <c:v>242.71</c:v>
                      </c:pt>
                      <c:pt idx="150">
                        <c:v>236.78</c:v>
                      </c:pt>
                      <c:pt idx="151">
                        <c:v>239.73</c:v>
                      </c:pt>
                      <c:pt idx="152">
                        <c:v>238.25</c:v>
                      </c:pt>
                      <c:pt idx="153">
                        <c:v>232.95</c:v>
                      </c:pt>
                      <c:pt idx="154">
                        <c:v>234.65</c:v>
                      </c:pt>
                      <c:pt idx="155">
                        <c:v>226.78</c:v>
                      </c:pt>
                      <c:pt idx="156">
                        <c:v>234.49</c:v>
                      </c:pt>
                      <c:pt idx="157">
                        <c:v>232.11</c:v>
                      </c:pt>
                      <c:pt idx="158">
                        <c:v>232.9</c:v>
                      </c:pt>
                      <c:pt idx="159">
                        <c:v>235.24</c:v>
                      </c:pt>
                      <c:pt idx="160">
                        <c:v>233.46</c:v>
                      </c:pt>
                      <c:pt idx="161">
                        <c:v>235.13</c:v>
                      </c:pt>
                      <c:pt idx="162">
                        <c:v>231.68</c:v>
                      </c:pt>
                      <c:pt idx="163">
                        <c:v>234.55</c:v>
                      </c:pt>
                      <c:pt idx="164">
                        <c:v>233.82</c:v>
                      </c:pt>
                      <c:pt idx="165">
                        <c:v>232.8</c:v>
                      </c:pt>
                      <c:pt idx="166">
                        <c:v>234.66</c:v>
                      </c:pt>
                      <c:pt idx="167">
                        <c:v>237.19</c:v>
                      </c:pt>
                      <c:pt idx="168">
                        <c:v>236.51</c:v>
                      </c:pt>
                      <c:pt idx="169">
                        <c:v>236.37</c:v>
                      </c:pt>
                      <c:pt idx="170">
                        <c:v>240.62</c:v>
                      </c:pt>
                      <c:pt idx="171">
                        <c:v>243.14</c:v>
                      </c:pt>
                      <c:pt idx="172">
                        <c:v>242.79</c:v>
                      </c:pt>
                      <c:pt idx="173">
                        <c:v>238.9</c:v>
                      </c:pt>
                      <c:pt idx="174">
                        <c:v>240.97</c:v>
                      </c:pt>
                      <c:pt idx="175">
                        <c:v>237.57</c:v>
                      </c:pt>
                      <c:pt idx="176">
                        <c:v>237.63</c:v>
                      </c:pt>
                      <c:pt idx="177">
                        <c:v>235.52</c:v>
                      </c:pt>
                      <c:pt idx="178">
                        <c:v>234.8</c:v>
                      </c:pt>
                      <c:pt idx="179">
                        <c:v>229.48</c:v>
                      </c:pt>
                      <c:pt idx="180">
                        <c:v>231.81</c:v>
                      </c:pt>
                      <c:pt idx="181">
                        <c:v>236.39</c:v>
                      </c:pt>
                      <c:pt idx="182">
                        <c:v>234.15</c:v>
                      </c:pt>
                      <c:pt idx="183">
                        <c:v>237.37</c:v>
                      </c:pt>
                      <c:pt idx="184">
                        <c:v>240.54</c:v>
                      </c:pt>
                      <c:pt idx="185">
                        <c:v>238.55</c:v>
                      </c:pt>
                      <c:pt idx="186">
                        <c:v>235</c:v>
                      </c:pt>
                      <c:pt idx="187">
                        <c:v>240.23</c:v>
                      </c:pt>
                      <c:pt idx="188">
                        <c:v>239.77</c:v>
                      </c:pt>
                      <c:pt idx="189">
                        <c:v>239.23</c:v>
                      </c:pt>
                      <c:pt idx="190">
                        <c:v>236.37</c:v>
                      </c:pt>
                      <c:pt idx="191">
                        <c:v>231.69</c:v>
                      </c:pt>
                      <c:pt idx="192">
                        <c:v>238.06</c:v>
                      </c:pt>
                      <c:pt idx="193">
                        <c:v>235.12</c:v>
                      </c:pt>
                      <c:pt idx="194">
                        <c:v>241.3</c:v>
                      </c:pt>
                      <c:pt idx="195">
                        <c:v>241.46</c:v>
                      </c:pt>
                      <c:pt idx="196">
                        <c:v>243.49</c:v>
                      </c:pt>
                      <c:pt idx="197">
                        <c:v>241.7</c:v>
                      </c:pt>
                      <c:pt idx="198">
                        <c:v>237.77</c:v>
                      </c:pt>
                      <c:pt idx="199">
                        <c:v>241.44</c:v>
                      </c:pt>
                      <c:pt idx="200">
                        <c:v>239.67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S$1</c15:sqref>
                        </c15:formulaRef>
                      </c:ext>
                    </c:extLst>
                    <c:strCache>
                      <c:ptCount val="1"/>
                      <c:pt idx="0">
                        <c:v>Porsgrunn/Skien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S$2:$S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0.07</c:v>
                      </c:pt>
                      <c:pt idx="2">
                        <c:v>101.57</c:v>
                      </c:pt>
                      <c:pt idx="3">
                        <c:v>101.82</c:v>
                      </c:pt>
                      <c:pt idx="4">
                        <c:v>100.61</c:v>
                      </c:pt>
                      <c:pt idx="5">
                        <c:v>101.79</c:v>
                      </c:pt>
                      <c:pt idx="6">
                        <c:v>100.01</c:v>
                      </c:pt>
                      <c:pt idx="7">
                        <c:v>101.77</c:v>
                      </c:pt>
                      <c:pt idx="8">
                        <c:v>101.85</c:v>
                      </c:pt>
                      <c:pt idx="9">
                        <c:v>102.29</c:v>
                      </c:pt>
                      <c:pt idx="10">
                        <c:v>103.04</c:v>
                      </c:pt>
                      <c:pt idx="11">
                        <c:v>103.55</c:v>
                      </c:pt>
                      <c:pt idx="12">
                        <c:v>106.14</c:v>
                      </c:pt>
                      <c:pt idx="13">
                        <c:v>107.13</c:v>
                      </c:pt>
                      <c:pt idx="14">
                        <c:v>109.15</c:v>
                      </c:pt>
                      <c:pt idx="15">
                        <c:v>110.92</c:v>
                      </c:pt>
                      <c:pt idx="16">
                        <c:v>109.19</c:v>
                      </c:pt>
                      <c:pt idx="17">
                        <c:v>110.49</c:v>
                      </c:pt>
                      <c:pt idx="18">
                        <c:v>109.1</c:v>
                      </c:pt>
                      <c:pt idx="19">
                        <c:v>111.85</c:v>
                      </c:pt>
                      <c:pt idx="20">
                        <c:v>110.58</c:v>
                      </c:pt>
                      <c:pt idx="21">
                        <c:v>109.66</c:v>
                      </c:pt>
                      <c:pt idx="22">
                        <c:v>109.87</c:v>
                      </c:pt>
                      <c:pt idx="23">
                        <c:v>110.25</c:v>
                      </c:pt>
                      <c:pt idx="24">
                        <c:v>111</c:v>
                      </c:pt>
                      <c:pt idx="25">
                        <c:v>112.72</c:v>
                      </c:pt>
                      <c:pt idx="26">
                        <c:v>115.02</c:v>
                      </c:pt>
                      <c:pt idx="27">
                        <c:v>116.43</c:v>
                      </c:pt>
                      <c:pt idx="28">
                        <c:v>118.69</c:v>
                      </c:pt>
                      <c:pt idx="29">
                        <c:v>116.74</c:v>
                      </c:pt>
                      <c:pt idx="30">
                        <c:v>116</c:v>
                      </c:pt>
                      <c:pt idx="31">
                        <c:v>119.69</c:v>
                      </c:pt>
                      <c:pt idx="32">
                        <c:v>118.7</c:v>
                      </c:pt>
                      <c:pt idx="33">
                        <c:v>119.9</c:v>
                      </c:pt>
                      <c:pt idx="34">
                        <c:v>120.4</c:v>
                      </c:pt>
                      <c:pt idx="35">
                        <c:v>120.06</c:v>
                      </c:pt>
                      <c:pt idx="36">
                        <c:v>122.87</c:v>
                      </c:pt>
                      <c:pt idx="37">
                        <c:v>124.12</c:v>
                      </c:pt>
                      <c:pt idx="38">
                        <c:v>126.88</c:v>
                      </c:pt>
                      <c:pt idx="39">
                        <c:v>127.75</c:v>
                      </c:pt>
                      <c:pt idx="40">
                        <c:v>129.69</c:v>
                      </c:pt>
                      <c:pt idx="41">
                        <c:v>131.57</c:v>
                      </c:pt>
                      <c:pt idx="42">
                        <c:v>130.85</c:v>
                      </c:pt>
                      <c:pt idx="43">
                        <c:v>133.61000000000001</c:v>
                      </c:pt>
                      <c:pt idx="44">
                        <c:v>134.62</c:v>
                      </c:pt>
                      <c:pt idx="45">
                        <c:v>135.94</c:v>
                      </c:pt>
                      <c:pt idx="46">
                        <c:v>134.25</c:v>
                      </c:pt>
                      <c:pt idx="47">
                        <c:v>134.41</c:v>
                      </c:pt>
                      <c:pt idx="48">
                        <c:v>138.99</c:v>
                      </c:pt>
                      <c:pt idx="49">
                        <c:v>142.66999999999999</c:v>
                      </c:pt>
                      <c:pt idx="50">
                        <c:v>144.88999999999999</c:v>
                      </c:pt>
                      <c:pt idx="51">
                        <c:v>147.29</c:v>
                      </c:pt>
                      <c:pt idx="52">
                        <c:v>150.54</c:v>
                      </c:pt>
                      <c:pt idx="53">
                        <c:v>149.91</c:v>
                      </c:pt>
                      <c:pt idx="54">
                        <c:v>149.6</c:v>
                      </c:pt>
                      <c:pt idx="55">
                        <c:v>153.63</c:v>
                      </c:pt>
                      <c:pt idx="56">
                        <c:v>152.31</c:v>
                      </c:pt>
                      <c:pt idx="57">
                        <c:v>151.34</c:v>
                      </c:pt>
                      <c:pt idx="58">
                        <c:v>151.38999999999999</c:v>
                      </c:pt>
                      <c:pt idx="59">
                        <c:v>151.51</c:v>
                      </c:pt>
                      <c:pt idx="60">
                        <c:v>152.69</c:v>
                      </c:pt>
                      <c:pt idx="61">
                        <c:v>152.75</c:v>
                      </c:pt>
                      <c:pt idx="62">
                        <c:v>154.93</c:v>
                      </c:pt>
                      <c:pt idx="63">
                        <c:v>157.04</c:v>
                      </c:pt>
                      <c:pt idx="64">
                        <c:v>158.76</c:v>
                      </c:pt>
                      <c:pt idx="65">
                        <c:v>155.61000000000001</c:v>
                      </c:pt>
                      <c:pt idx="66">
                        <c:v>152.96</c:v>
                      </c:pt>
                      <c:pt idx="67">
                        <c:v>156.65</c:v>
                      </c:pt>
                      <c:pt idx="68">
                        <c:v>153.54</c:v>
                      </c:pt>
                      <c:pt idx="69">
                        <c:v>148.44999999999999</c:v>
                      </c:pt>
                      <c:pt idx="70">
                        <c:v>144.78</c:v>
                      </c:pt>
                      <c:pt idx="71">
                        <c:v>144.35</c:v>
                      </c:pt>
                      <c:pt idx="72">
                        <c:v>148.19</c:v>
                      </c:pt>
                      <c:pt idx="73">
                        <c:v>152.18</c:v>
                      </c:pt>
                      <c:pt idx="74">
                        <c:v>154.07</c:v>
                      </c:pt>
                      <c:pt idx="75">
                        <c:v>156.74</c:v>
                      </c:pt>
                      <c:pt idx="76">
                        <c:v>157.35</c:v>
                      </c:pt>
                      <c:pt idx="77">
                        <c:v>160.16999999999999</c:v>
                      </c:pt>
                      <c:pt idx="78">
                        <c:v>158.6</c:v>
                      </c:pt>
                      <c:pt idx="79">
                        <c:v>161.79</c:v>
                      </c:pt>
                      <c:pt idx="80">
                        <c:v>161.47999999999999</c:v>
                      </c:pt>
                      <c:pt idx="81">
                        <c:v>163.41</c:v>
                      </c:pt>
                      <c:pt idx="82">
                        <c:v>161.68</c:v>
                      </c:pt>
                      <c:pt idx="83">
                        <c:v>161.57</c:v>
                      </c:pt>
                      <c:pt idx="84">
                        <c:v>165.16</c:v>
                      </c:pt>
                      <c:pt idx="85">
                        <c:v>167.9</c:v>
                      </c:pt>
                      <c:pt idx="86">
                        <c:v>167.32</c:v>
                      </c:pt>
                      <c:pt idx="87">
                        <c:v>169.56</c:v>
                      </c:pt>
                      <c:pt idx="88">
                        <c:v>170.46</c:v>
                      </c:pt>
                      <c:pt idx="89">
                        <c:v>171.41</c:v>
                      </c:pt>
                      <c:pt idx="90">
                        <c:v>167.47</c:v>
                      </c:pt>
                      <c:pt idx="91">
                        <c:v>172.05</c:v>
                      </c:pt>
                      <c:pt idx="92">
                        <c:v>170.52</c:v>
                      </c:pt>
                      <c:pt idx="93">
                        <c:v>170.59</c:v>
                      </c:pt>
                      <c:pt idx="94">
                        <c:v>170.07</c:v>
                      </c:pt>
                      <c:pt idx="95">
                        <c:v>168.15</c:v>
                      </c:pt>
                      <c:pt idx="96">
                        <c:v>173.73</c:v>
                      </c:pt>
                      <c:pt idx="97">
                        <c:v>176.58</c:v>
                      </c:pt>
                      <c:pt idx="98">
                        <c:v>178.96</c:v>
                      </c:pt>
                      <c:pt idx="99">
                        <c:v>181.11</c:v>
                      </c:pt>
                      <c:pt idx="100">
                        <c:v>184.96</c:v>
                      </c:pt>
                      <c:pt idx="101">
                        <c:v>183.85</c:v>
                      </c:pt>
                      <c:pt idx="102">
                        <c:v>181.42</c:v>
                      </c:pt>
                      <c:pt idx="103">
                        <c:v>183.87</c:v>
                      </c:pt>
                      <c:pt idx="104">
                        <c:v>184.27</c:v>
                      </c:pt>
                      <c:pt idx="105">
                        <c:v>184.9</c:v>
                      </c:pt>
                      <c:pt idx="106">
                        <c:v>183.87</c:v>
                      </c:pt>
                      <c:pt idx="107">
                        <c:v>181.82</c:v>
                      </c:pt>
                      <c:pt idx="108">
                        <c:v>187.98</c:v>
                      </c:pt>
                      <c:pt idx="109">
                        <c:v>188.9</c:v>
                      </c:pt>
                      <c:pt idx="110">
                        <c:v>191.19</c:v>
                      </c:pt>
                      <c:pt idx="111">
                        <c:v>194.53</c:v>
                      </c:pt>
                      <c:pt idx="112">
                        <c:v>193.18</c:v>
                      </c:pt>
                      <c:pt idx="113">
                        <c:v>193.23</c:v>
                      </c:pt>
                      <c:pt idx="114">
                        <c:v>190.93</c:v>
                      </c:pt>
                      <c:pt idx="115">
                        <c:v>196.41</c:v>
                      </c:pt>
                      <c:pt idx="116">
                        <c:v>194.18</c:v>
                      </c:pt>
                      <c:pt idx="117">
                        <c:v>192.75</c:v>
                      </c:pt>
                      <c:pt idx="118">
                        <c:v>190.29</c:v>
                      </c:pt>
                      <c:pt idx="119">
                        <c:v>187.35</c:v>
                      </c:pt>
                      <c:pt idx="120">
                        <c:v>195.5</c:v>
                      </c:pt>
                      <c:pt idx="121">
                        <c:v>197.41</c:v>
                      </c:pt>
                      <c:pt idx="122">
                        <c:v>196.16</c:v>
                      </c:pt>
                      <c:pt idx="123">
                        <c:v>197.77</c:v>
                      </c:pt>
                      <c:pt idx="124">
                        <c:v>199.97</c:v>
                      </c:pt>
                      <c:pt idx="125">
                        <c:v>198.97</c:v>
                      </c:pt>
                      <c:pt idx="126">
                        <c:v>194.75</c:v>
                      </c:pt>
                      <c:pt idx="127">
                        <c:v>202.06</c:v>
                      </c:pt>
                      <c:pt idx="128">
                        <c:v>198.78</c:v>
                      </c:pt>
                      <c:pt idx="129">
                        <c:v>194.35</c:v>
                      </c:pt>
                      <c:pt idx="130">
                        <c:v>194.74</c:v>
                      </c:pt>
                      <c:pt idx="131">
                        <c:v>188.94</c:v>
                      </c:pt>
                      <c:pt idx="132">
                        <c:v>196.97</c:v>
                      </c:pt>
                      <c:pt idx="133">
                        <c:v>197.24</c:v>
                      </c:pt>
                      <c:pt idx="134">
                        <c:v>200.64</c:v>
                      </c:pt>
                      <c:pt idx="135">
                        <c:v>201.2</c:v>
                      </c:pt>
                      <c:pt idx="136">
                        <c:v>200.9</c:v>
                      </c:pt>
                      <c:pt idx="137">
                        <c:v>199.62</c:v>
                      </c:pt>
                      <c:pt idx="138">
                        <c:v>199.23</c:v>
                      </c:pt>
                      <c:pt idx="139">
                        <c:v>200.97</c:v>
                      </c:pt>
                      <c:pt idx="140">
                        <c:v>200.66</c:v>
                      </c:pt>
                      <c:pt idx="141">
                        <c:v>200.98</c:v>
                      </c:pt>
                      <c:pt idx="142">
                        <c:v>199.34</c:v>
                      </c:pt>
                      <c:pt idx="143">
                        <c:v>198.2</c:v>
                      </c:pt>
                      <c:pt idx="144">
                        <c:v>203.09</c:v>
                      </c:pt>
                      <c:pt idx="145">
                        <c:v>205.59</c:v>
                      </c:pt>
                      <c:pt idx="146">
                        <c:v>206.51</c:v>
                      </c:pt>
                      <c:pt idx="147">
                        <c:v>209.96</c:v>
                      </c:pt>
                      <c:pt idx="148">
                        <c:v>208.58</c:v>
                      </c:pt>
                      <c:pt idx="149">
                        <c:v>210.04</c:v>
                      </c:pt>
                      <c:pt idx="150">
                        <c:v>201.06</c:v>
                      </c:pt>
                      <c:pt idx="151">
                        <c:v>211.7</c:v>
                      </c:pt>
                      <c:pt idx="152">
                        <c:v>210.41</c:v>
                      </c:pt>
                      <c:pt idx="153">
                        <c:v>206.96</c:v>
                      </c:pt>
                      <c:pt idx="154">
                        <c:v>206.49</c:v>
                      </c:pt>
                      <c:pt idx="155">
                        <c:v>203.27</c:v>
                      </c:pt>
                      <c:pt idx="156">
                        <c:v>211.91</c:v>
                      </c:pt>
                      <c:pt idx="157">
                        <c:v>211.61</c:v>
                      </c:pt>
                      <c:pt idx="158">
                        <c:v>215</c:v>
                      </c:pt>
                      <c:pt idx="159">
                        <c:v>218.74</c:v>
                      </c:pt>
                      <c:pt idx="160">
                        <c:v>221.65</c:v>
                      </c:pt>
                      <c:pt idx="161">
                        <c:v>220.51</c:v>
                      </c:pt>
                      <c:pt idx="162">
                        <c:v>217.73</c:v>
                      </c:pt>
                      <c:pt idx="163">
                        <c:v>225.56</c:v>
                      </c:pt>
                      <c:pt idx="164">
                        <c:v>224.84</c:v>
                      </c:pt>
                      <c:pt idx="165">
                        <c:v>226.92</c:v>
                      </c:pt>
                      <c:pt idx="166">
                        <c:v>221.68</c:v>
                      </c:pt>
                      <c:pt idx="167">
                        <c:v>220.44</c:v>
                      </c:pt>
                      <c:pt idx="168">
                        <c:v>228.44</c:v>
                      </c:pt>
                      <c:pt idx="169">
                        <c:v>231.03</c:v>
                      </c:pt>
                      <c:pt idx="170">
                        <c:v>235.19</c:v>
                      </c:pt>
                      <c:pt idx="171">
                        <c:v>237.37</c:v>
                      </c:pt>
                      <c:pt idx="172">
                        <c:v>234.36</c:v>
                      </c:pt>
                      <c:pt idx="173">
                        <c:v>235.78</c:v>
                      </c:pt>
                      <c:pt idx="174">
                        <c:v>232.26</c:v>
                      </c:pt>
                      <c:pt idx="175">
                        <c:v>237.15</c:v>
                      </c:pt>
                      <c:pt idx="176">
                        <c:v>236.52</c:v>
                      </c:pt>
                      <c:pt idx="177">
                        <c:v>235.79</c:v>
                      </c:pt>
                      <c:pt idx="178">
                        <c:v>231.65</c:v>
                      </c:pt>
                      <c:pt idx="179">
                        <c:v>232.62</c:v>
                      </c:pt>
                      <c:pt idx="180">
                        <c:v>233.77</c:v>
                      </c:pt>
                      <c:pt idx="181">
                        <c:v>237.95</c:v>
                      </c:pt>
                      <c:pt idx="182">
                        <c:v>237.45</c:v>
                      </c:pt>
                      <c:pt idx="183">
                        <c:v>240.59</c:v>
                      </c:pt>
                      <c:pt idx="184">
                        <c:v>243.09</c:v>
                      </c:pt>
                      <c:pt idx="185">
                        <c:v>240.37</c:v>
                      </c:pt>
                      <c:pt idx="186">
                        <c:v>238.76</c:v>
                      </c:pt>
                      <c:pt idx="187">
                        <c:v>240.6</c:v>
                      </c:pt>
                      <c:pt idx="188">
                        <c:v>239.33</c:v>
                      </c:pt>
                      <c:pt idx="189">
                        <c:v>235.99</c:v>
                      </c:pt>
                      <c:pt idx="190">
                        <c:v>231.58</c:v>
                      </c:pt>
                      <c:pt idx="191">
                        <c:v>234.55</c:v>
                      </c:pt>
                      <c:pt idx="192">
                        <c:v>240.78</c:v>
                      </c:pt>
                      <c:pt idx="193">
                        <c:v>242.66</c:v>
                      </c:pt>
                      <c:pt idx="194">
                        <c:v>239.82</c:v>
                      </c:pt>
                      <c:pt idx="195">
                        <c:v>243.94</c:v>
                      </c:pt>
                      <c:pt idx="196">
                        <c:v>247.58</c:v>
                      </c:pt>
                      <c:pt idx="197">
                        <c:v>246.39</c:v>
                      </c:pt>
                      <c:pt idx="198">
                        <c:v>238.87</c:v>
                      </c:pt>
                      <c:pt idx="199">
                        <c:v>247.17</c:v>
                      </c:pt>
                      <c:pt idx="200">
                        <c:v>244.22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U$1</c15:sqref>
                        </c15:formulaRef>
                      </c:ext>
                    </c:extLst>
                    <c:strCache>
                      <c:ptCount val="1"/>
                      <c:pt idx="0">
                        <c:v>Vestfold og Telemark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U$2:$U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0</c:v>
                      </c:pt>
                      <c:pt idx="2">
                        <c:v>101.21</c:v>
                      </c:pt>
                      <c:pt idx="3">
                        <c:v>100.99</c:v>
                      </c:pt>
                      <c:pt idx="4">
                        <c:v>99.81</c:v>
                      </c:pt>
                      <c:pt idx="5">
                        <c:v>100.62</c:v>
                      </c:pt>
                      <c:pt idx="6">
                        <c:v>98.81</c:v>
                      </c:pt>
                      <c:pt idx="7">
                        <c:v>100.71</c:v>
                      </c:pt>
                      <c:pt idx="8">
                        <c:v>100.49</c:v>
                      </c:pt>
                      <c:pt idx="9">
                        <c:v>100.31</c:v>
                      </c:pt>
                      <c:pt idx="10">
                        <c:v>100.89</c:v>
                      </c:pt>
                      <c:pt idx="11">
                        <c:v>101.05</c:v>
                      </c:pt>
                      <c:pt idx="12">
                        <c:v>103.52</c:v>
                      </c:pt>
                      <c:pt idx="13">
                        <c:v>104.28</c:v>
                      </c:pt>
                      <c:pt idx="14">
                        <c:v>106.28</c:v>
                      </c:pt>
                      <c:pt idx="15">
                        <c:v>108.52</c:v>
                      </c:pt>
                      <c:pt idx="16">
                        <c:v>107.7</c:v>
                      </c:pt>
                      <c:pt idx="17">
                        <c:v>108.32</c:v>
                      </c:pt>
                      <c:pt idx="18">
                        <c:v>107.02</c:v>
                      </c:pt>
                      <c:pt idx="19">
                        <c:v>109.63</c:v>
                      </c:pt>
                      <c:pt idx="20">
                        <c:v>108.53</c:v>
                      </c:pt>
                      <c:pt idx="21">
                        <c:v>108.01</c:v>
                      </c:pt>
                      <c:pt idx="22">
                        <c:v>108.04</c:v>
                      </c:pt>
                      <c:pt idx="23">
                        <c:v>108.59</c:v>
                      </c:pt>
                      <c:pt idx="24">
                        <c:v>109.41</c:v>
                      </c:pt>
                      <c:pt idx="25">
                        <c:v>110.98</c:v>
                      </c:pt>
                      <c:pt idx="26">
                        <c:v>112.91</c:v>
                      </c:pt>
                      <c:pt idx="27">
                        <c:v>113.84</c:v>
                      </c:pt>
                      <c:pt idx="28">
                        <c:v>115.03</c:v>
                      </c:pt>
                      <c:pt idx="29">
                        <c:v>113.12</c:v>
                      </c:pt>
                      <c:pt idx="30">
                        <c:v>112.12</c:v>
                      </c:pt>
                      <c:pt idx="31">
                        <c:v>115.89</c:v>
                      </c:pt>
                      <c:pt idx="32">
                        <c:v>114.17</c:v>
                      </c:pt>
                      <c:pt idx="33">
                        <c:v>115.07</c:v>
                      </c:pt>
                      <c:pt idx="34">
                        <c:v>115.26</c:v>
                      </c:pt>
                      <c:pt idx="35">
                        <c:v>114.69</c:v>
                      </c:pt>
                      <c:pt idx="36">
                        <c:v>117.1</c:v>
                      </c:pt>
                      <c:pt idx="37">
                        <c:v>118.61</c:v>
                      </c:pt>
                      <c:pt idx="38">
                        <c:v>121.28</c:v>
                      </c:pt>
                      <c:pt idx="39">
                        <c:v>122.16</c:v>
                      </c:pt>
                      <c:pt idx="40">
                        <c:v>124.1</c:v>
                      </c:pt>
                      <c:pt idx="41">
                        <c:v>125.27</c:v>
                      </c:pt>
                      <c:pt idx="42">
                        <c:v>124.82</c:v>
                      </c:pt>
                      <c:pt idx="43">
                        <c:v>127.49</c:v>
                      </c:pt>
                      <c:pt idx="44">
                        <c:v>128.74</c:v>
                      </c:pt>
                      <c:pt idx="45">
                        <c:v>129.86000000000001</c:v>
                      </c:pt>
                      <c:pt idx="46">
                        <c:v>127.95</c:v>
                      </c:pt>
                      <c:pt idx="47">
                        <c:v>127.85</c:v>
                      </c:pt>
                      <c:pt idx="48">
                        <c:v>132</c:v>
                      </c:pt>
                      <c:pt idx="49">
                        <c:v>135.13999999999999</c:v>
                      </c:pt>
                      <c:pt idx="50">
                        <c:v>136.78</c:v>
                      </c:pt>
                      <c:pt idx="51">
                        <c:v>138.94</c:v>
                      </c:pt>
                      <c:pt idx="52">
                        <c:v>141.25</c:v>
                      </c:pt>
                      <c:pt idx="53">
                        <c:v>140.25</c:v>
                      </c:pt>
                      <c:pt idx="54">
                        <c:v>139.71</c:v>
                      </c:pt>
                      <c:pt idx="55">
                        <c:v>143.65</c:v>
                      </c:pt>
                      <c:pt idx="56">
                        <c:v>141.68</c:v>
                      </c:pt>
                      <c:pt idx="57">
                        <c:v>140.16</c:v>
                      </c:pt>
                      <c:pt idx="58">
                        <c:v>140</c:v>
                      </c:pt>
                      <c:pt idx="59">
                        <c:v>140.16</c:v>
                      </c:pt>
                      <c:pt idx="60">
                        <c:v>141.44</c:v>
                      </c:pt>
                      <c:pt idx="61">
                        <c:v>141.34</c:v>
                      </c:pt>
                      <c:pt idx="62">
                        <c:v>143.01</c:v>
                      </c:pt>
                      <c:pt idx="63">
                        <c:v>145.07</c:v>
                      </c:pt>
                      <c:pt idx="64">
                        <c:v>146.51</c:v>
                      </c:pt>
                      <c:pt idx="65">
                        <c:v>143.54</c:v>
                      </c:pt>
                      <c:pt idx="66">
                        <c:v>141.11000000000001</c:v>
                      </c:pt>
                      <c:pt idx="67">
                        <c:v>144.36000000000001</c:v>
                      </c:pt>
                      <c:pt idx="68">
                        <c:v>141.15</c:v>
                      </c:pt>
                      <c:pt idx="69">
                        <c:v>136.43</c:v>
                      </c:pt>
                      <c:pt idx="70">
                        <c:v>133.16999999999999</c:v>
                      </c:pt>
                      <c:pt idx="71">
                        <c:v>132.51</c:v>
                      </c:pt>
                      <c:pt idx="72">
                        <c:v>135.87</c:v>
                      </c:pt>
                      <c:pt idx="73">
                        <c:v>139.31</c:v>
                      </c:pt>
                      <c:pt idx="74">
                        <c:v>140.88</c:v>
                      </c:pt>
                      <c:pt idx="75">
                        <c:v>142.94999999999999</c:v>
                      </c:pt>
                      <c:pt idx="76">
                        <c:v>143.19999999999999</c:v>
                      </c:pt>
                      <c:pt idx="77">
                        <c:v>145.93</c:v>
                      </c:pt>
                      <c:pt idx="78">
                        <c:v>144.24</c:v>
                      </c:pt>
                      <c:pt idx="79">
                        <c:v>147.21</c:v>
                      </c:pt>
                      <c:pt idx="80">
                        <c:v>146.87</c:v>
                      </c:pt>
                      <c:pt idx="81">
                        <c:v>148.13</c:v>
                      </c:pt>
                      <c:pt idx="82">
                        <c:v>146.47999999999999</c:v>
                      </c:pt>
                      <c:pt idx="83">
                        <c:v>146.34</c:v>
                      </c:pt>
                      <c:pt idx="84">
                        <c:v>149.63</c:v>
                      </c:pt>
                      <c:pt idx="85">
                        <c:v>152.11000000000001</c:v>
                      </c:pt>
                      <c:pt idx="86">
                        <c:v>151.4</c:v>
                      </c:pt>
                      <c:pt idx="87">
                        <c:v>153.47999999999999</c:v>
                      </c:pt>
                      <c:pt idx="88">
                        <c:v>154.65</c:v>
                      </c:pt>
                      <c:pt idx="89">
                        <c:v>155.47999999999999</c:v>
                      </c:pt>
                      <c:pt idx="90">
                        <c:v>152.09</c:v>
                      </c:pt>
                      <c:pt idx="91">
                        <c:v>155.94999999999999</c:v>
                      </c:pt>
                      <c:pt idx="92">
                        <c:v>154.55000000000001</c:v>
                      </c:pt>
                      <c:pt idx="93">
                        <c:v>154.87</c:v>
                      </c:pt>
                      <c:pt idx="94">
                        <c:v>154.25</c:v>
                      </c:pt>
                      <c:pt idx="95">
                        <c:v>152.46</c:v>
                      </c:pt>
                      <c:pt idx="96">
                        <c:v>157.32</c:v>
                      </c:pt>
                      <c:pt idx="97">
                        <c:v>159.62</c:v>
                      </c:pt>
                      <c:pt idx="98">
                        <c:v>161.5</c:v>
                      </c:pt>
                      <c:pt idx="99">
                        <c:v>163.30000000000001</c:v>
                      </c:pt>
                      <c:pt idx="100">
                        <c:v>166.2</c:v>
                      </c:pt>
                      <c:pt idx="101">
                        <c:v>165.34</c:v>
                      </c:pt>
                      <c:pt idx="102">
                        <c:v>163.13</c:v>
                      </c:pt>
                      <c:pt idx="103">
                        <c:v>165.26</c:v>
                      </c:pt>
                      <c:pt idx="104">
                        <c:v>165.32</c:v>
                      </c:pt>
                      <c:pt idx="105">
                        <c:v>165.68</c:v>
                      </c:pt>
                      <c:pt idx="106">
                        <c:v>164.42</c:v>
                      </c:pt>
                      <c:pt idx="107">
                        <c:v>162.34</c:v>
                      </c:pt>
                      <c:pt idx="108">
                        <c:v>167.58</c:v>
                      </c:pt>
                      <c:pt idx="109">
                        <c:v>168.56</c:v>
                      </c:pt>
                      <c:pt idx="110">
                        <c:v>170.31</c:v>
                      </c:pt>
                      <c:pt idx="111">
                        <c:v>173.31</c:v>
                      </c:pt>
                      <c:pt idx="112">
                        <c:v>172.68</c:v>
                      </c:pt>
                      <c:pt idx="113">
                        <c:v>172.61</c:v>
                      </c:pt>
                      <c:pt idx="114">
                        <c:v>170.67</c:v>
                      </c:pt>
                      <c:pt idx="115">
                        <c:v>176.25</c:v>
                      </c:pt>
                      <c:pt idx="116">
                        <c:v>174.95</c:v>
                      </c:pt>
                      <c:pt idx="117">
                        <c:v>174.36</c:v>
                      </c:pt>
                      <c:pt idx="118">
                        <c:v>172.36</c:v>
                      </c:pt>
                      <c:pt idx="119">
                        <c:v>169.79</c:v>
                      </c:pt>
                      <c:pt idx="120">
                        <c:v>177.58</c:v>
                      </c:pt>
                      <c:pt idx="121">
                        <c:v>179.46</c:v>
                      </c:pt>
                      <c:pt idx="122">
                        <c:v>178.84</c:v>
                      </c:pt>
                      <c:pt idx="123">
                        <c:v>180.59</c:v>
                      </c:pt>
                      <c:pt idx="124">
                        <c:v>182.22</c:v>
                      </c:pt>
                      <c:pt idx="125">
                        <c:v>181.34</c:v>
                      </c:pt>
                      <c:pt idx="126">
                        <c:v>177.45</c:v>
                      </c:pt>
                      <c:pt idx="127">
                        <c:v>183.82</c:v>
                      </c:pt>
                      <c:pt idx="128">
                        <c:v>181.14</c:v>
                      </c:pt>
                      <c:pt idx="129">
                        <c:v>176.67</c:v>
                      </c:pt>
                      <c:pt idx="130">
                        <c:v>177.33</c:v>
                      </c:pt>
                      <c:pt idx="131">
                        <c:v>172.33</c:v>
                      </c:pt>
                      <c:pt idx="132">
                        <c:v>179.37</c:v>
                      </c:pt>
                      <c:pt idx="133">
                        <c:v>179.9</c:v>
                      </c:pt>
                      <c:pt idx="134">
                        <c:v>182.7</c:v>
                      </c:pt>
                      <c:pt idx="135">
                        <c:v>183.42</c:v>
                      </c:pt>
                      <c:pt idx="136">
                        <c:v>183.7</c:v>
                      </c:pt>
                      <c:pt idx="137">
                        <c:v>182.93</c:v>
                      </c:pt>
                      <c:pt idx="138">
                        <c:v>182.53</c:v>
                      </c:pt>
                      <c:pt idx="139">
                        <c:v>185.08</c:v>
                      </c:pt>
                      <c:pt idx="140">
                        <c:v>184.65</c:v>
                      </c:pt>
                      <c:pt idx="141">
                        <c:v>185.31</c:v>
                      </c:pt>
                      <c:pt idx="142">
                        <c:v>183.84</c:v>
                      </c:pt>
                      <c:pt idx="143">
                        <c:v>182.45</c:v>
                      </c:pt>
                      <c:pt idx="144">
                        <c:v>187.52</c:v>
                      </c:pt>
                      <c:pt idx="145">
                        <c:v>190.32</c:v>
                      </c:pt>
                      <c:pt idx="146">
                        <c:v>192.24</c:v>
                      </c:pt>
                      <c:pt idx="147">
                        <c:v>195.93</c:v>
                      </c:pt>
                      <c:pt idx="148">
                        <c:v>194.79</c:v>
                      </c:pt>
                      <c:pt idx="149">
                        <c:v>196.97</c:v>
                      </c:pt>
                      <c:pt idx="150">
                        <c:v>188.41</c:v>
                      </c:pt>
                      <c:pt idx="151">
                        <c:v>198.47</c:v>
                      </c:pt>
                      <c:pt idx="152">
                        <c:v>197.5</c:v>
                      </c:pt>
                      <c:pt idx="153">
                        <c:v>194.31</c:v>
                      </c:pt>
                      <c:pt idx="154">
                        <c:v>194.08</c:v>
                      </c:pt>
                      <c:pt idx="155">
                        <c:v>191.16</c:v>
                      </c:pt>
                      <c:pt idx="156">
                        <c:v>199.11</c:v>
                      </c:pt>
                      <c:pt idx="157">
                        <c:v>198.73</c:v>
                      </c:pt>
                      <c:pt idx="158">
                        <c:v>201.51</c:v>
                      </c:pt>
                      <c:pt idx="159">
                        <c:v>204.91</c:v>
                      </c:pt>
                      <c:pt idx="160">
                        <c:v>207.73</c:v>
                      </c:pt>
                      <c:pt idx="161">
                        <c:v>206.04</c:v>
                      </c:pt>
                      <c:pt idx="162">
                        <c:v>203.81</c:v>
                      </c:pt>
                      <c:pt idx="163">
                        <c:v>211.14</c:v>
                      </c:pt>
                      <c:pt idx="164">
                        <c:v>210.63</c:v>
                      </c:pt>
                      <c:pt idx="165">
                        <c:v>211.54</c:v>
                      </c:pt>
                      <c:pt idx="166">
                        <c:v>206.1</c:v>
                      </c:pt>
                      <c:pt idx="167">
                        <c:v>204.7</c:v>
                      </c:pt>
                      <c:pt idx="168">
                        <c:v>212.24</c:v>
                      </c:pt>
                      <c:pt idx="169">
                        <c:v>214.49</c:v>
                      </c:pt>
                      <c:pt idx="170">
                        <c:v>217.76</c:v>
                      </c:pt>
                      <c:pt idx="171">
                        <c:v>219.7</c:v>
                      </c:pt>
                      <c:pt idx="172">
                        <c:v>217</c:v>
                      </c:pt>
                      <c:pt idx="173">
                        <c:v>218.25</c:v>
                      </c:pt>
                      <c:pt idx="174">
                        <c:v>214.93</c:v>
                      </c:pt>
                      <c:pt idx="175">
                        <c:v>219.14</c:v>
                      </c:pt>
                      <c:pt idx="176">
                        <c:v>218.24</c:v>
                      </c:pt>
                      <c:pt idx="177">
                        <c:v>218.16</c:v>
                      </c:pt>
                      <c:pt idx="178">
                        <c:v>214.92</c:v>
                      </c:pt>
                      <c:pt idx="179">
                        <c:v>216.03</c:v>
                      </c:pt>
                      <c:pt idx="180">
                        <c:v>217.48</c:v>
                      </c:pt>
                      <c:pt idx="181">
                        <c:v>221.05</c:v>
                      </c:pt>
                      <c:pt idx="182">
                        <c:v>220.84</c:v>
                      </c:pt>
                      <c:pt idx="183">
                        <c:v>224</c:v>
                      </c:pt>
                      <c:pt idx="184">
                        <c:v>226.77</c:v>
                      </c:pt>
                      <c:pt idx="185">
                        <c:v>224.99</c:v>
                      </c:pt>
                      <c:pt idx="186">
                        <c:v>223.54</c:v>
                      </c:pt>
                      <c:pt idx="187">
                        <c:v>226.09</c:v>
                      </c:pt>
                      <c:pt idx="188">
                        <c:v>224.84</c:v>
                      </c:pt>
                      <c:pt idx="189">
                        <c:v>221.93</c:v>
                      </c:pt>
                      <c:pt idx="190">
                        <c:v>217.81</c:v>
                      </c:pt>
                      <c:pt idx="191">
                        <c:v>220.64</c:v>
                      </c:pt>
                      <c:pt idx="192">
                        <c:v>226.06</c:v>
                      </c:pt>
                      <c:pt idx="193">
                        <c:v>227.93</c:v>
                      </c:pt>
                      <c:pt idx="194">
                        <c:v>225.25</c:v>
                      </c:pt>
                      <c:pt idx="195">
                        <c:v>229.29</c:v>
                      </c:pt>
                      <c:pt idx="196">
                        <c:v>233.03</c:v>
                      </c:pt>
                      <c:pt idx="197">
                        <c:v>232.17</c:v>
                      </c:pt>
                      <c:pt idx="198">
                        <c:v>224.99</c:v>
                      </c:pt>
                      <c:pt idx="199">
                        <c:v>233.02</c:v>
                      </c:pt>
                      <c:pt idx="200">
                        <c:v>230.81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V$1</c15:sqref>
                        </c15:formulaRef>
                      </c:ext>
                    </c:extLst>
                    <c:strCache>
                      <c:ptCount val="1"/>
                      <c:pt idx="0">
                        <c:v>Ålesund m/omegn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V$2:$V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3.27</c:v>
                      </c:pt>
                      <c:pt idx="2">
                        <c:v>101.8</c:v>
                      </c:pt>
                      <c:pt idx="3">
                        <c:v>102.87</c:v>
                      </c:pt>
                      <c:pt idx="4">
                        <c:v>101.55</c:v>
                      </c:pt>
                      <c:pt idx="5">
                        <c:v>102.5</c:v>
                      </c:pt>
                      <c:pt idx="6">
                        <c:v>102.67</c:v>
                      </c:pt>
                      <c:pt idx="7">
                        <c:v>104.48</c:v>
                      </c:pt>
                      <c:pt idx="8">
                        <c:v>103.57</c:v>
                      </c:pt>
                      <c:pt idx="9">
                        <c:v>106.34</c:v>
                      </c:pt>
                      <c:pt idx="10">
                        <c:v>106.81</c:v>
                      </c:pt>
                      <c:pt idx="11">
                        <c:v>106.01</c:v>
                      </c:pt>
                      <c:pt idx="12">
                        <c:v>109.81</c:v>
                      </c:pt>
                      <c:pt idx="13">
                        <c:v>110.61</c:v>
                      </c:pt>
                      <c:pt idx="14">
                        <c:v>111.38</c:v>
                      </c:pt>
                      <c:pt idx="15">
                        <c:v>113.56</c:v>
                      </c:pt>
                      <c:pt idx="16">
                        <c:v>112.71</c:v>
                      </c:pt>
                      <c:pt idx="17">
                        <c:v>111.17</c:v>
                      </c:pt>
                      <c:pt idx="18">
                        <c:v>111.51</c:v>
                      </c:pt>
                      <c:pt idx="19">
                        <c:v>114.11</c:v>
                      </c:pt>
                      <c:pt idx="20">
                        <c:v>112.81</c:v>
                      </c:pt>
                      <c:pt idx="21">
                        <c:v>112.54</c:v>
                      </c:pt>
                      <c:pt idx="22">
                        <c:v>113.11</c:v>
                      </c:pt>
                      <c:pt idx="23">
                        <c:v>110.26</c:v>
                      </c:pt>
                      <c:pt idx="24">
                        <c:v>114.35</c:v>
                      </c:pt>
                      <c:pt idx="25">
                        <c:v>112.62</c:v>
                      </c:pt>
                      <c:pt idx="26">
                        <c:v>117.8</c:v>
                      </c:pt>
                      <c:pt idx="27">
                        <c:v>117.32</c:v>
                      </c:pt>
                      <c:pt idx="28">
                        <c:v>116.65</c:v>
                      </c:pt>
                      <c:pt idx="29">
                        <c:v>114.48</c:v>
                      </c:pt>
                      <c:pt idx="30">
                        <c:v>116.27</c:v>
                      </c:pt>
                      <c:pt idx="31">
                        <c:v>119.8</c:v>
                      </c:pt>
                      <c:pt idx="32">
                        <c:v>118.51</c:v>
                      </c:pt>
                      <c:pt idx="33">
                        <c:v>118.57</c:v>
                      </c:pt>
                      <c:pt idx="34">
                        <c:v>118.13</c:v>
                      </c:pt>
                      <c:pt idx="35">
                        <c:v>119.16</c:v>
                      </c:pt>
                      <c:pt idx="36">
                        <c:v>123.2</c:v>
                      </c:pt>
                      <c:pt idx="37">
                        <c:v>125.91</c:v>
                      </c:pt>
                      <c:pt idx="38">
                        <c:v>127.56</c:v>
                      </c:pt>
                      <c:pt idx="39">
                        <c:v>128.28</c:v>
                      </c:pt>
                      <c:pt idx="40">
                        <c:v>132.16</c:v>
                      </c:pt>
                      <c:pt idx="41">
                        <c:v>131.82</c:v>
                      </c:pt>
                      <c:pt idx="42">
                        <c:v>130.5</c:v>
                      </c:pt>
                      <c:pt idx="43">
                        <c:v>136.55000000000001</c:v>
                      </c:pt>
                      <c:pt idx="44">
                        <c:v>137.06</c:v>
                      </c:pt>
                      <c:pt idx="45">
                        <c:v>136.91999999999999</c:v>
                      </c:pt>
                      <c:pt idx="46">
                        <c:v>138.65</c:v>
                      </c:pt>
                      <c:pt idx="47">
                        <c:v>137.74</c:v>
                      </c:pt>
                      <c:pt idx="48">
                        <c:v>144.58000000000001</c:v>
                      </c:pt>
                      <c:pt idx="49">
                        <c:v>143.81</c:v>
                      </c:pt>
                      <c:pt idx="50">
                        <c:v>147.55000000000001</c:v>
                      </c:pt>
                      <c:pt idx="51">
                        <c:v>148.65</c:v>
                      </c:pt>
                      <c:pt idx="52">
                        <c:v>149.28</c:v>
                      </c:pt>
                      <c:pt idx="53">
                        <c:v>148.44999999999999</c:v>
                      </c:pt>
                      <c:pt idx="54">
                        <c:v>146.94999999999999</c:v>
                      </c:pt>
                      <c:pt idx="55">
                        <c:v>149.30000000000001</c:v>
                      </c:pt>
                      <c:pt idx="56">
                        <c:v>147.55000000000001</c:v>
                      </c:pt>
                      <c:pt idx="57">
                        <c:v>148.41999999999999</c:v>
                      </c:pt>
                      <c:pt idx="58">
                        <c:v>147.32</c:v>
                      </c:pt>
                      <c:pt idx="59">
                        <c:v>145.47</c:v>
                      </c:pt>
                      <c:pt idx="60">
                        <c:v>149.38999999999999</c:v>
                      </c:pt>
                      <c:pt idx="61">
                        <c:v>152.75</c:v>
                      </c:pt>
                      <c:pt idx="62">
                        <c:v>152.87</c:v>
                      </c:pt>
                      <c:pt idx="63">
                        <c:v>153.37</c:v>
                      </c:pt>
                      <c:pt idx="64">
                        <c:v>152.97999999999999</c:v>
                      </c:pt>
                      <c:pt idx="65">
                        <c:v>153.01</c:v>
                      </c:pt>
                      <c:pt idx="66">
                        <c:v>152.61000000000001</c:v>
                      </c:pt>
                      <c:pt idx="67">
                        <c:v>152.33000000000001</c:v>
                      </c:pt>
                      <c:pt idx="68">
                        <c:v>151.22999999999999</c:v>
                      </c:pt>
                      <c:pt idx="69">
                        <c:v>146.74</c:v>
                      </c:pt>
                      <c:pt idx="70">
                        <c:v>143.84</c:v>
                      </c:pt>
                      <c:pt idx="71">
                        <c:v>145.35</c:v>
                      </c:pt>
                      <c:pt idx="72">
                        <c:v>148.41</c:v>
                      </c:pt>
                      <c:pt idx="73">
                        <c:v>154.08000000000001</c:v>
                      </c:pt>
                      <c:pt idx="74">
                        <c:v>156.65</c:v>
                      </c:pt>
                      <c:pt idx="75">
                        <c:v>161.35</c:v>
                      </c:pt>
                      <c:pt idx="76">
                        <c:v>162.12</c:v>
                      </c:pt>
                      <c:pt idx="77">
                        <c:v>162.51</c:v>
                      </c:pt>
                      <c:pt idx="78">
                        <c:v>164.54</c:v>
                      </c:pt>
                      <c:pt idx="79">
                        <c:v>167.83</c:v>
                      </c:pt>
                      <c:pt idx="80">
                        <c:v>166.95</c:v>
                      </c:pt>
                      <c:pt idx="81">
                        <c:v>167.23</c:v>
                      </c:pt>
                      <c:pt idx="82">
                        <c:v>167.33</c:v>
                      </c:pt>
                      <c:pt idx="83">
                        <c:v>165.73</c:v>
                      </c:pt>
                      <c:pt idx="84">
                        <c:v>170.05</c:v>
                      </c:pt>
                      <c:pt idx="85">
                        <c:v>171.41</c:v>
                      </c:pt>
                      <c:pt idx="86">
                        <c:v>171.66</c:v>
                      </c:pt>
                      <c:pt idx="87">
                        <c:v>173.22</c:v>
                      </c:pt>
                      <c:pt idx="88">
                        <c:v>175.16</c:v>
                      </c:pt>
                      <c:pt idx="89">
                        <c:v>174.79</c:v>
                      </c:pt>
                      <c:pt idx="90">
                        <c:v>174.94</c:v>
                      </c:pt>
                      <c:pt idx="91">
                        <c:v>176.83</c:v>
                      </c:pt>
                      <c:pt idx="92">
                        <c:v>177.19</c:v>
                      </c:pt>
                      <c:pt idx="93">
                        <c:v>177.16</c:v>
                      </c:pt>
                      <c:pt idx="94">
                        <c:v>178.7</c:v>
                      </c:pt>
                      <c:pt idx="95">
                        <c:v>175.59</c:v>
                      </c:pt>
                      <c:pt idx="96">
                        <c:v>181.8</c:v>
                      </c:pt>
                      <c:pt idx="97">
                        <c:v>184.35</c:v>
                      </c:pt>
                      <c:pt idx="98">
                        <c:v>187.35</c:v>
                      </c:pt>
                      <c:pt idx="99">
                        <c:v>189.21</c:v>
                      </c:pt>
                      <c:pt idx="100">
                        <c:v>190.51</c:v>
                      </c:pt>
                      <c:pt idx="101">
                        <c:v>190.32</c:v>
                      </c:pt>
                      <c:pt idx="102">
                        <c:v>188.15</c:v>
                      </c:pt>
                      <c:pt idx="103">
                        <c:v>191.6</c:v>
                      </c:pt>
                      <c:pt idx="104">
                        <c:v>193.67</c:v>
                      </c:pt>
                      <c:pt idx="105">
                        <c:v>191.32</c:v>
                      </c:pt>
                      <c:pt idx="106">
                        <c:v>193.02</c:v>
                      </c:pt>
                      <c:pt idx="107">
                        <c:v>191.66</c:v>
                      </c:pt>
                      <c:pt idx="108">
                        <c:v>195.34</c:v>
                      </c:pt>
                      <c:pt idx="109">
                        <c:v>197.18</c:v>
                      </c:pt>
                      <c:pt idx="110">
                        <c:v>201.45</c:v>
                      </c:pt>
                      <c:pt idx="111">
                        <c:v>202.87</c:v>
                      </c:pt>
                      <c:pt idx="112">
                        <c:v>203.72</c:v>
                      </c:pt>
                      <c:pt idx="113">
                        <c:v>203.46</c:v>
                      </c:pt>
                      <c:pt idx="114">
                        <c:v>202.03</c:v>
                      </c:pt>
                      <c:pt idx="115">
                        <c:v>205.94</c:v>
                      </c:pt>
                      <c:pt idx="116">
                        <c:v>204.71</c:v>
                      </c:pt>
                      <c:pt idx="117">
                        <c:v>203.66</c:v>
                      </c:pt>
                      <c:pt idx="118">
                        <c:v>204.28</c:v>
                      </c:pt>
                      <c:pt idx="119">
                        <c:v>203.55</c:v>
                      </c:pt>
                      <c:pt idx="120">
                        <c:v>210.1</c:v>
                      </c:pt>
                      <c:pt idx="121">
                        <c:v>213.69</c:v>
                      </c:pt>
                      <c:pt idx="122">
                        <c:v>210.91</c:v>
                      </c:pt>
                      <c:pt idx="123">
                        <c:v>214.23</c:v>
                      </c:pt>
                      <c:pt idx="124">
                        <c:v>213.02</c:v>
                      </c:pt>
                      <c:pt idx="125">
                        <c:v>210.73</c:v>
                      </c:pt>
                      <c:pt idx="126">
                        <c:v>208.16</c:v>
                      </c:pt>
                      <c:pt idx="127">
                        <c:v>212.3</c:v>
                      </c:pt>
                      <c:pt idx="128">
                        <c:v>207.95</c:v>
                      </c:pt>
                      <c:pt idx="129">
                        <c:v>206.56</c:v>
                      </c:pt>
                      <c:pt idx="130">
                        <c:v>201.89</c:v>
                      </c:pt>
                      <c:pt idx="131">
                        <c:v>200.12</c:v>
                      </c:pt>
                      <c:pt idx="132">
                        <c:v>205.02</c:v>
                      </c:pt>
                      <c:pt idx="133">
                        <c:v>207.75</c:v>
                      </c:pt>
                      <c:pt idx="134">
                        <c:v>208.8</c:v>
                      </c:pt>
                      <c:pt idx="135">
                        <c:v>211.07</c:v>
                      </c:pt>
                      <c:pt idx="136">
                        <c:v>213.64</c:v>
                      </c:pt>
                      <c:pt idx="137">
                        <c:v>212.95</c:v>
                      </c:pt>
                      <c:pt idx="138">
                        <c:v>211.86</c:v>
                      </c:pt>
                      <c:pt idx="139">
                        <c:v>215.05</c:v>
                      </c:pt>
                      <c:pt idx="140">
                        <c:v>213.6</c:v>
                      </c:pt>
                      <c:pt idx="141">
                        <c:v>211.55</c:v>
                      </c:pt>
                      <c:pt idx="142">
                        <c:v>213.55</c:v>
                      </c:pt>
                      <c:pt idx="143">
                        <c:v>214.29</c:v>
                      </c:pt>
                      <c:pt idx="144">
                        <c:v>217.2</c:v>
                      </c:pt>
                      <c:pt idx="145">
                        <c:v>223.51</c:v>
                      </c:pt>
                      <c:pt idx="146">
                        <c:v>222.22</c:v>
                      </c:pt>
                      <c:pt idx="147">
                        <c:v>226.41</c:v>
                      </c:pt>
                      <c:pt idx="148">
                        <c:v>224.57</c:v>
                      </c:pt>
                      <c:pt idx="149">
                        <c:v>224.58</c:v>
                      </c:pt>
                      <c:pt idx="150">
                        <c:v>221.2</c:v>
                      </c:pt>
                      <c:pt idx="151">
                        <c:v>227.68</c:v>
                      </c:pt>
                      <c:pt idx="152">
                        <c:v>225.98</c:v>
                      </c:pt>
                      <c:pt idx="153">
                        <c:v>222.19</c:v>
                      </c:pt>
                      <c:pt idx="154">
                        <c:v>222.6</c:v>
                      </c:pt>
                      <c:pt idx="155">
                        <c:v>220.54</c:v>
                      </c:pt>
                      <c:pt idx="156">
                        <c:v>225.86</c:v>
                      </c:pt>
                      <c:pt idx="157">
                        <c:v>225.49</c:v>
                      </c:pt>
                      <c:pt idx="158">
                        <c:v>234.13</c:v>
                      </c:pt>
                      <c:pt idx="159">
                        <c:v>234.79</c:v>
                      </c:pt>
                      <c:pt idx="160">
                        <c:v>235.07</c:v>
                      </c:pt>
                      <c:pt idx="161">
                        <c:v>234.98</c:v>
                      </c:pt>
                      <c:pt idx="162">
                        <c:v>229.83</c:v>
                      </c:pt>
                      <c:pt idx="163">
                        <c:v>235.96</c:v>
                      </c:pt>
                      <c:pt idx="164">
                        <c:v>235.03</c:v>
                      </c:pt>
                      <c:pt idx="165">
                        <c:v>233.17</c:v>
                      </c:pt>
                      <c:pt idx="166">
                        <c:v>232.75</c:v>
                      </c:pt>
                      <c:pt idx="167">
                        <c:v>226.5</c:v>
                      </c:pt>
                      <c:pt idx="168">
                        <c:v>236.74</c:v>
                      </c:pt>
                      <c:pt idx="169">
                        <c:v>243.34</c:v>
                      </c:pt>
                      <c:pt idx="170">
                        <c:v>242.11</c:v>
                      </c:pt>
                      <c:pt idx="171">
                        <c:v>241.09</c:v>
                      </c:pt>
                      <c:pt idx="172">
                        <c:v>242.66</c:v>
                      </c:pt>
                      <c:pt idx="173">
                        <c:v>240.21</c:v>
                      </c:pt>
                      <c:pt idx="174">
                        <c:v>241.32</c:v>
                      </c:pt>
                      <c:pt idx="175">
                        <c:v>238.77</c:v>
                      </c:pt>
                      <c:pt idx="176">
                        <c:v>235.77</c:v>
                      </c:pt>
                      <c:pt idx="177">
                        <c:v>235.81</c:v>
                      </c:pt>
                      <c:pt idx="178">
                        <c:v>230.79</c:v>
                      </c:pt>
                      <c:pt idx="179">
                        <c:v>229.09</c:v>
                      </c:pt>
                      <c:pt idx="180">
                        <c:v>235.28</c:v>
                      </c:pt>
                      <c:pt idx="181">
                        <c:v>235.89</c:v>
                      </c:pt>
                      <c:pt idx="182">
                        <c:v>239.05</c:v>
                      </c:pt>
                      <c:pt idx="183">
                        <c:v>243.8</c:v>
                      </c:pt>
                      <c:pt idx="184">
                        <c:v>245.67</c:v>
                      </c:pt>
                      <c:pt idx="185">
                        <c:v>242.37</c:v>
                      </c:pt>
                      <c:pt idx="186">
                        <c:v>239.37</c:v>
                      </c:pt>
                      <c:pt idx="187">
                        <c:v>242.83</c:v>
                      </c:pt>
                      <c:pt idx="188">
                        <c:v>237.78</c:v>
                      </c:pt>
                      <c:pt idx="189">
                        <c:v>238.64</c:v>
                      </c:pt>
                      <c:pt idx="190">
                        <c:v>234.75</c:v>
                      </c:pt>
                      <c:pt idx="191">
                        <c:v>230.08</c:v>
                      </c:pt>
                      <c:pt idx="192">
                        <c:v>239.91</c:v>
                      </c:pt>
                      <c:pt idx="193">
                        <c:v>243.06</c:v>
                      </c:pt>
                      <c:pt idx="194">
                        <c:v>242.98</c:v>
                      </c:pt>
                      <c:pt idx="195">
                        <c:v>245.44</c:v>
                      </c:pt>
                      <c:pt idx="196">
                        <c:v>246.19</c:v>
                      </c:pt>
                      <c:pt idx="197">
                        <c:v>248.69</c:v>
                      </c:pt>
                      <c:pt idx="198">
                        <c:v>245.09</c:v>
                      </c:pt>
                      <c:pt idx="199">
                        <c:v>249.46</c:v>
                      </c:pt>
                      <c:pt idx="200">
                        <c:v>244.12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21"/>
                <c:order val="2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W$1</c15:sqref>
                        </c15:formulaRef>
                      </c:ext>
                    </c:extLst>
                    <c:strCache>
                      <c:ptCount val="1"/>
                      <c:pt idx="0">
                        <c:v>Trondheim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W$2:$W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3.29</c:v>
                      </c:pt>
                      <c:pt idx="2">
                        <c:v>102.46</c:v>
                      </c:pt>
                      <c:pt idx="3">
                        <c:v>103.46</c:v>
                      </c:pt>
                      <c:pt idx="4">
                        <c:v>102.24</c:v>
                      </c:pt>
                      <c:pt idx="5">
                        <c:v>102.67</c:v>
                      </c:pt>
                      <c:pt idx="6">
                        <c:v>103.71</c:v>
                      </c:pt>
                      <c:pt idx="7">
                        <c:v>105.59</c:v>
                      </c:pt>
                      <c:pt idx="8">
                        <c:v>105.01</c:v>
                      </c:pt>
                      <c:pt idx="9">
                        <c:v>108.13</c:v>
                      </c:pt>
                      <c:pt idx="10">
                        <c:v>108.54</c:v>
                      </c:pt>
                      <c:pt idx="11">
                        <c:v>108.11</c:v>
                      </c:pt>
                      <c:pt idx="12">
                        <c:v>113.04</c:v>
                      </c:pt>
                      <c:pt idx="13">
                        <c:v>114.51</c:v>
                      </c:pt>
                      <c:pt idx="14">
                        <c:v>115.8</c:v>
                      </c:pt>
                      <c:pt idx="15">
                        <c:v>119.36</c:v>
                      </c:pt>
                      <c:pt idx="16">
                        <c:v>119.24</c:v>
                      </c:pt>
                      <c:pt idx="17">
                        <c:v>118.58</c:v>
                      </c:pt>
                      <c:pt idx="18">
                        <c:v>118.61</c:v>
                      </c:pt>
                      <c:pt idx="19">
                        <c:v>123.21</c:v>
                      </c:pt>
                      <c:pt idx="20">
                        <c:v>122.62</c:v>
                      </c:pt>
                      <c:pt idx="21">
                        <c:v>123.16</c:v>
                      </c:pt>
                      <c:pt idx="22">
                        <c:v>124.45</c:v>
                      </c:pt>
                      <c:pt idx="23">
                        <c:v>122.29</c:v>
                      </c:pt>
                      <c:pt idx="24">
                        <c:v>127.14</c:v>
                      </c:pt>
                      <c:pt idx="25">
                        <c:v>126.03</c:v>
                      </c:pt>
                      <c:pt idx="26">
                        <c:v>131.82</c:v>
                      </c:pt>
                      <c:pt idx="27">
                        <c:v>131.80000000000001</c:v>
                      </c:pt>
                      <c:pt idx="28">
                        <c:v>131.63</c:v>
                      </c:pt>
                      <c:pt idx="29">
                        <c:v>129.88</c:v>
                      </c:pt>
                      <c:pt idx="30">
                        <c:v>132.19999999999999</c:v>
                      </c:pt>
                      <c:pt idx="31">
                        <c:v>136.56</c:v>
                      </c:pt>
                      <c:pt idx="32">
                        <c:v>135.47999999999999</c:v>
                      </c:pt>
                      <c:pt idx="33">
                        <c:v>135.68</c:v>
                      </c:pt>
                      <c:pt idx="34">
                        <c:v>135.56</c:v>
                      </c:pt>
                      <c:pt idx="35">
                        <c:v>135.63999999999999</c:v>
                      </c:pt>
                      <c:pt idx="36">
                        <c:v>139.85</c:v>
                      </c:pt>
                      <c:pt idx="37">
                        <c:v>142.55000000000001</c:v>
                      </c:pt>
                      <c:pt idx="38">
                        <c:v>144.22999999999999</c:v>
                      </c:pt>
                      <c:pt idx="39">
                        <c:v>144.85</c:v>
                      </c:pt>
                      <c:pt idx="40">
                        <c:v>149.13</c:v>
                      </c:pt>
                      <c:pt idx="41">
                        <c:v>147.82</c:v>
                      </c:pt>
                      <c:pt idx="42">
                        <c:v>145.74</c:v>
                      </c:pt>
                      <c:pt idx="43">
                        <c:v>152.47999999999999</c:v>
                      </c:pt>
                      <c:pt idx="44">
                        <c:v>153.01</c:v>
                      </c:pt>
                      <c:pt idx="45">
                        <c:v>152.29</c:v>
                      </c:pt>
                      <c:pt idx="46">
                        <c:v>153.52000000000001</c:v>
                      </c:pt>
                      <c:pt idx="47">
                        <c:v>152.09</c:v>
                      </c:pt>
                      <c:pt idx="48">
                        <c:v>159.28</c:v>
                      </c:pt>
                      <c:pt idx="49">
                        <c:v>158.57</c:v>
                      </c:pt>
                      <c:pt idx="50">
                        <c:v>162.38999999999999</c:v>
                      </c:pt>
                      <c:pt idx="51">
                        <c:v>162.6</c:v>
                      </c:pt>
                      <c:pt idx="52">
                        <c:v>162.57</c:v>
                      </c:pt>
                      <c:pt idx="53">
                        <c:v>161.15</c:v>
                      </c:pt>
                      <c:pt idx="54">
                        <c:v>158.69999999999999</c:v>
                      </c:pt>
                      <c:pt idx="55">
                        <c:v>159.84</c:v>
                      </c:pt>
                      <c:pt idx="56">
                        <c:v>156.69</c:v>
                      </c:pt>
                      <c:pt idx="57">
                        <c:v>156.12</c:v>
                      </c:pt>
                      <c:pt idx="58">
                        <c:v>154.25</c:v>
                      </c:pt>
                      <c:pt idx="59">
                        <c:v>151.47999999999999</c:v>
                      </c:pt>
                      <c:pt idx="60">
                        <c:v>154.63</c:v>
                      </c:pt>
                      <c:pt idx="61">
                        <c:v>157.19</c:v>
                      </c:pt>
                      <c:pt idx="62">
                        <c:v>156.34</c:v>
                      </c:pt>
                      <c:pt idx="63">
                        <c:v>156.13</c:v>
                      </c:pt>
                      <c:pt idx="64">
                        <c:v>154.66999999999999</c:v>
                      </c:pt>
                      <c:pt idx="65">
                        <c:v>152.85</c:v>
                      </c:pt>
                      <c:pt idx="66">
                        <c:v>151.57</c:v>
                      </c:pt>
                      <c:pt idx="67">
                        <c:v>150</c:v>
                      </c:pt>
                      <c:pt idx="68">
                        <c:v>147.81</c:v>
                      </c:pt>
                      <c:pt idx="69">
                        <c:v>143.27000000000001</c:v>
                      </c:pt>
                      <c:pt idx="70">
                        <c:v>139.78</c:v>
                      </c:pt>
                      <c:pt idx="71">
                        <c:v>140.44999999999999</c:v>
                      </c:pt>
                      <c:pt idx="72">
                        <c:v>143.13</c:v>
                      </c:pt>
                      <c:pt idx="73">
                        <c:v>147.55000000000001</c:v>
                      </c:pt>
                      <c:pt idx="74">
                        <c:v>149.63999999999999</c:v>
                      </c:pt>
                      <c:pt idx="75">
                        <c:v>152.96</c:v>
                      </c:pt>
                      <c:pt idx="76">
                        <c:v>153.5</c:v>
                      </c:pt>
                      <c:pt idx="77">
                        <c:v>153.80000000000001</c:v>
                      </c:pt>
                      <c:pt idx="78">
                        <c:v>155.72999999999999</c:v>
                      </c:pt>
                      <c:pt idx="79">
                        <c:v>159.06</c:v>
                      </c:pt>
                      <c:pt idx="80">
                        <c:v>158.9</c:v>
                      </c:pt>
                      <c:pt idx="81">
                        <c:v>159.35</c:v>
                      </c:pt>
                      <c:pt idx="82">
                        <c:v>159.43</c:v>
                      </c:pt>
                      <c:pt idx="83">
                        <c:v>158.28</c:v>
                      </c:pt>
                      <c:pt idx="84">
                        <c:v>162.93</c:v>
                      </c:pt>
                      <c:pt idx="85">
                        <c:v>165.75</c:v>
                      </c:pt>
                      <c:pt idx="86">
                        <c:v>166.4</c:v>
                      </c:pt>
                      <c:pt idx="87">
                        <c:v>168.24</c:v>
                      </c:pt>
                      <c:pt idx="88">
                        <c:v>169.66</c:v>
                      </c:pt>
                      <c:pt idx="89">
                        <c:v>169.76</c:v>
                      </c:pt>
                      <c:pt idx="90">
                        <c:v>169.91</c:v>
                      </c:pt>
                      <c:pt idx="91">
                        <c:v>172.5</c:v>
                      </c:pt>
                      <c:pt idx="92">
                        <c:v>173.28</c:v>
                      </c:pt>
                      <c:pt idx="93">
                        <c:v>173.47</c:v>
                      </c:pt>
                      <c:pt idx="94">
                        <c:v>175.71</c:v>
                      </c:pt>
                      <c:pt idx="95">
                        <c:v>172.85</c:v>
                      </c:pt>
                      <c:pt idx="96">
                        <c:v>179.06</c:v>
                      </c:pt>
                      <c:pt idx="97">
                        <c:v>181.32</c:v>
                      </c:pt>
                      <c:pt idx="98">
                        <c:v>184.85</c:v>
                      </c:pt>
                      <c:pt idx="99">
                        <c:v>187.67</c:v>
                      </c:pt>
                      <c:pt idx="100">
                        <c:v>189.97</c:v>
                      </c:pt>
                      <c:pt idx="101">
                        <c:v>190.55</c:v>
                      </c:pt>
                      <c:pt idx="102">
                        <c:v>188.44</c:v>
                      </c:pt>
                      <c:pt idx="103">
                        <c:v>192.39</c:v>
                      </c:pt>
                      <c:pt idx="104">
                        <c:v>194.44</c:v>
                      </c:pt>
                      <c:pt idx="105">
                        <c:v>192.73</c:v>
                      </c:pt>
                      <c:pt idx="106">
                        <c:v>194.52</c:v>
                      </c:pt>
                      <c:pt idx="107">
                        <c:v>193.06</c:v>
                      </c:pt>
                      <c:pt idx="108">
                        <c:v>197.14</c:v>
                      </c:pt>
                      <c:pt idx="109">
                        <c:v>198.92</c:v>
                      </c:pt>
                      <c:pt idx="110">
                        <c:v>203.35</c:v>
                      </c:pt>
                      <c:pt idx="111">
                        <c:v>205.09</c:v>
                      </c:pt>
                      <c:pt idx="112">
                        <c:v>206.34</c:v>
                      </c:pt>
                      <c:pt idx="113">
                        <c:v>207.29</c:v>
                      </c:pt>
                      <c:pt idx="114">
                        <c:v>206.87</c:v>
                      </c:pt>
                      <c:pt idx="115">
                        <c:v>212.11</c:v>
                      </c:pt>
                      <c:pt idx="116">
                        <c:v>212.21</c:v>
                      </c:pt>
                      <c:pt idx="117">
                        <c:v>211.28</c:v>
                      </c:pt>
                      <c:pt idx="118">
                        <c:v>212.04</c:v>
                      </c:pt>
                      <c:pt idx="119">
                        <c:v>211.84</c:v>
                      </c:pt>
                      <c:pt idx="120">
                        <c:v>219.7</c:v>
                      </c:pt>
                      <c:pt idx="121">
                        <c:v>224.72</c:v>
                      </c:pt>
                      <c:pt idx="122">
                        <c:v>223.74</c:v>
                      </c:pt>
                      <c:pt idx="123">
                        <c:v>228.51</c:v>
                      </c:pt>
                      <c:pt idx="124">
                        <c:v>229.11</c:v>
                      </c:pt>
                      <c:pt idx="125">
                        <c:v>226.25</c:v>
                      </c:pt>
                      <c:pt idx="126">
                        <c:v>223.95</c:v>
                      </c:pt>
                      <c:pt idx="127">
                        <c:v>228.58</c:v>
                      </c:pt>
                      <c:pt idx="128">
                        <c:v>224.11</c:v>
                      </c:pt>
                      <c:pt idx="129">
                        <c:v>222.96</c:v>
                      </c:pt>
                      <c:pt idx="130">
                        <c:v>217.99</c:v>
                      </c:pt>
                      <c:pt idx="131">
                        <c:v>215.9</c:v>
                      </c:pt>
                      <c:pt idx="132">
                        <c:v>221.33</c:v>
                      </c:pt>
                      <c:pt idx="133">
                        <c:v>224.31</c:v>
                      </c:pt>
                      <c:pt idx="134">
                        <c:v>225.09</c:v>
                      </c:pt>
                      <c:pt idx="135">
                        <c:v>227.2</c:v>
                      </c:pt>
                      <c:pt idx="136">
                        <c:v>228.5</c:v>
                      </c:pt>
                      <c:pt idx="137">
                        <c:v>228.22</c:v>
                      </c:pt>
                      <c:pt idx="138">
                        <c:v>226.81</c:v>
                      </c:pt>
                      <c:pt idx="139">
                        <c:v>230.37</c:v>
                      </c:pt>
                      <c:pt idx="140">
                        <c:v>228.81</c:v>
                      </c:pt>
                      <c:pt idx="141">
                        <c:v>226.92</c:v>
                      </c:pt>
                      <c:pt idx="142">
                        <c:v>229.16</c:v>
                      </c:pt>
                      <c:pt idx="143">
                        <c:v>230.1</c:v>
                      </c:pt>
                      <c:pt idx="144">
                        <c:v>233.48</c:v>
                      </c:pt>
                      <c:pt idx="145">
                        <c:v>239.72</c:v>
                      </c:pt>
                      <c:pt idx="146">
                        <c:v>238.05</c:v>
                      </c:pt>
                      <c:pt idx="147">
                        <c:v>242.3</c:v>
                      </c:pt>
                      <c:pt idx="148">
                        <c:v>241.45</c:v>
                      </c:pt>
                      <c:pt idx="149">
                        <c:v>241.45</c:v>
                      </c:pt>
                      <c:pt idx="150">
                        <c:v>237.59</c:v>
                      </c:pt>
                      <c:pt idx="151">
                        <c:v>244.7</c:v>
                      </c:pt>
                      <c:pt idx="152">
                        <c:v>243</c:v>
                      </c:pt>
                      <c:pt idx="153">
                        <c:v>239.08</c:v>
                      </c:pt>
                      <c:pt idx="154">
                        <c:v>239.39</c:v>
                      </c:pt>
                      <c:pt idx="155">
                        <c:v>236.53</c:v>
                      </c:pt>
                      <c:pt idx="156">
                        <c:v>242.17</c:v>
                      </c:pt>
                      <c:pt idx="157">
                        <c:v>242.85</c:v>
                      </c:pt>
                      <c:pt idx="158">
                        <c:v>252.33</c:v>
                      </c:pt>
                      <c:pt idx="159">
                        <c:v>252.7</c:v>
                      </c:pt>
                      <c:pt idx="160">
                        <c:v>253.19</c:v>
                      </c:pt>
                      <c:pt idx="161">
                        <c:v>254.21</c:v>
                      </c:pt>
                      <c:pt idx="162">
                        <c:v>249.82</c:v>
                      </c:pt>
                      <c:pt idx="163">
                        <c:v>256.33999999999997</c:v>
                      </c:pt>
                      <c:pt idx="164">
                        <c:v>256.01</c:v>
                      </c:pt>
                      <c:pt idx="165">
                        <c:v>254.69</c:v>
                      </c:pt>
                      <c:pt idx="166">
                        <c:v>254.25</c:v>
                      </c:pt>
                      <c:pt idx="167">
                        <c:v>247.35</c:v>
                      </c:pt>
                      <c:pt idx="168">
                        <c:v>259.05</c:v>
                      </c:pt>
                      <c:pt idx="169">
                        <c:v>267</c:v>
                      </c:pt>
                      <c:pt idx="170">
                        <c:v>266.44</c:v>
                      </c:pt>
                      <c:pt idx="171">
                        <c:v>266.64</c:v>
                      </c:pt>
                      <c:pt idx="172">
                        <c:v>269.41000000000003</c:v>
                      </c:pt>
                      <c:pt idx="173">
                        <c:v>267.24</c:v>
                      </c:pt>
                      <c:pt idx="174">
                        <c:v>269.04000000000002</c:v>
                      </c:pt>
                      <c:pt idx="175">
                        <c:v>266.33</c:v>
                      </c:pt>
                      <c:pt idx="176">
                        <c:v>260.89999999999998</c:v>
                      </c:pt>
                      <c:pt idx="177">
                        <c:v>260.60000000000002</c:v>
                      </c:pt>
                      <c:pt idx="178">
                        <c:v>255.23</c:v>
                      </c:pt>
                      <c:pt idx="179">
                        <c:v>253.17</c:v>
                      </c:pt>
                      <c:pt idx="180">
                        <c:v>260.20999999999998</c:v>
                      </c:pt>
                      <c:pt idx="181">
                        <c:v>260.48</c:v>
                      </c:pt>
                      <c:pt idx="182">
                        <c:v>262.73</c:v>
                      </c:pt>
                      <c:pt idx="183">
                        <c:v>267.58</c:v>
                      </c:pt>
                      <c:pt idx="184">
                        <c:v>268.95999999999998</c:v>
                      </c:pt>
                      <c:pt idx="185">
                        <c:v>265.93</c:v>
                      </c:pt>
                      <c:pt idx="186">
                        <c:v>261.39999999999998</c:v>
                      </c:pt>
                      <c:pt idx="187">
                        <c:v>265.98</c:v>
                      </c:pt>
                      <c:pt idx="188">
                        <c:v>261.89</c:v>
                      </c:pt>
                      <c:pt idx="189">
                        <c:v>261.61</c:v>
                      </c:pt>
                      <c:pt idx="190">
                        <c:v>256.23</c:v>
                      </c:pt>
                      <c:pt idx="191">
                        <c:v>251.19</c:v>
                      </c:pt>
                      <c:pt idx="192">
                        <c:v>260.94</c:v>
                      </c:pt>
                      <c:pt idx="193">
                        <c:v>264.05</c:v>
                      </c:pt>
                      <c:pt idx="194">
                        <c:v>264.67</c:v>
                      </c:pt>
                      <c:pt idx="195">
                        <c:v>265.89999999999998</c:v>
                      </c:pt>
                      <c:pt idx="196">
                        <c:v>266.75</c:v>
                      </c:pt>
                      <c:pt idx="197">
                        <c:v>268.04000000000002</c:v>
                      </c:pt>
                      <c:pt idx="198">
                        <c:v>264.19</c:v>
                      </c:pt>
                      <c:pt idx="199">
                        <c:v>268.52999999999997</c:v>
                      </c:pt>
                      <c:pt idx="200">
                        <c:v>263.39999999999998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22"/>
                <c:order val="2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X$1</c15:sqref>
                        </c15:formulaRef>
                      </c:ext>
                    </c:extLst>
                    <c:strCache>
                      <c:ptCount val="1"/>
                      <c:pt idx="0">
                        <c:v>Midt-Norge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02</c15:sqref>
                        </c15:formulaRef>
                      </c:ext>
                    </c:extLst>
                    <c:numCache>
                      <c:formatCode>mmm\-yy</c:formatCode>
                      <c:ptCount val="201"/>
                      <c:pt idx="0">
                        <c:v>37622</c:v>
                      </c:pt>
                      <c:pt idx="1">
                        <c:v>37653</c:v>
                      </c:pt>
                      <c:pt idx="2">
                        <c:v>37681</c:v>
                      </c:pt>
                      <c:pt idx="3">
                        <c:v>37712</c:v>
                      </c:pt>
                      <c:pt idx="4">
                        <c:v>37742</c:v>
                      </c:pt>
                      <c:pt idx="5">
                        <c:v>37773</c:v>
                      </c:pt>
                      <c:pt idx="6">
                        <c:v>37803</c:v>
                      </c:pt>
                      <c:pt idx="7">
                        <c:v>37834</c:v>
                      </c:pt>
                      <c:pt idx="8">
                        <c:v>37865</c:v>
                      </c:pt>
                      <c:pt idx="9">
                        <c:v>37895</c:v>
                      </c:pt>
                      <c:pt idx="10">
                        <c:v>37926</c:v>
                      </c:pt>
                      <c:pt idx="11">
                        <c:v>37956</c:v>
                      </c:pt>
                      <c:pt idx="12">
                        <c:v>37987</c:v>
                      </c:pt>
                      <c:pt idx="13">
                        <c:v>38018</c:v>
                      </c:pt>
                      <c:pt idx="14">
                        <c:v>38047</c:v>
                      </c:pt>
                      <c:pt idx="15">
                        <c:v>38078</c:v>
                      </c:pt>
                      <c:pt idx="16">
                        <c:v>38108</c:v>
                      </c:pt>
                      <c:pt idx="17">
                        <c:v>38139</c:v>
                      </c:pt>
                      <c:pt idx="18">
                        <c:v>38169</c:v>
                      </c:pt>
                      <c:pt idx="19">
                        <c:v>38200</c:v>
                      </c:pt>
                      <c:pt idx="20">
                        <c:v>38231</c:v>
                      </c:pt>
                      <c:pt idx="21">
                        <c:v>38261</c:v>
                      </c:pt>
                      <c:pt idx="22">
                        <c:v>38292</c:v>
                      </c:pt>
                      <c:pt idx="23">
                        <c:v>38322</c:v>
                      </c:pt>
                      <c:pt idx="24">
                        <c:v>38353</c:v>
                      </c:pt>
                      <c:pt idx="25">
                        <c:v>38384</c:v>
                      </c:pt>
                      <c:pt idx="26">
                        <c:v>38412</c:v>
                      </c:pt>
                      <c:pt idx="27">
                        <c:v>38443</c:v>
                      </c:pt>
                      <c:pt idx="28">
                        <c:v>38473</c:v>
                      </c:pt>
                      <c:pt idx="29">
                        <c:v>38504</c:v>
                      </c:pt>
                      <c:pt idx="30">
                        <c:v>38534</c:v>
                      </c:pt>
                      <c:pt idx="31">
                        <c:v>38565</c:v>
                      </c:pt>
                      <c:pt idx="32">
                        <c:v>38596</c:v>
                      </c:pt>
                      <c:pt idx="33">
                        <c:v>38626</c:v>
                      </c:pt>
                      <c:pt idx="34">
                        <c:v>38657</c:v>
                      </c:pt>
                      <c:pt idx="35">
                        <c:v>38687</c:v>
                      </c:pt>
                      <c:pt idx="36">
                        <c:v>38718</c:v>
                      </c:pt>
                      <c:pt idx="37">
                        <c:v>38749</c:v>
                      </c:pt>
                      <c:pt idx="38">
                        <c:v>38777</c:v>
                      </c:pt>
                      <c:pt idx="39">
                        <c:v>38808</c:v>
                      </c:pt>
                      <c:pt idx="40">
                        <c:v>38838</c:v>
                      </c:pt>
                      <c:pt idx="41">
                        <c:v>38869</c:v>
                      </c:pt>
                      <c:pt idx="42">
                        <c:v>38899</c:v>
                      </c:pt>
                      <c:pt idx="43">
                        <c:v>38930</c:v>
                      </c:pt>
                      <c:pt idx="44">
                        <c:v>38961</c:v>
                      </c:pt>
                      <c:pt idx="45">
                        <c:v>38991</c:v>
                      </c:pt>
                      <c:pt idx="46">
                        <c:v>39022</c:v>
                      </c:pt>
                      <c:pt idx="47">
                        <c:v>39052</c:v>
                      </c:pt>
                      <c:pt idx="48">
                        <c:v>39083</c:v>
                      </c:pt>
                      <c:pt idx="49">
                        <c:v>39114</c:v>
                      </c:pt>
                      <c:pt idx="50">
                        <c:v>39142</c:v>
                      </c:pt>
                      <c:pt idx="51">
                        <c:v>39173</c:v>
                      </c:pt>
                      <c:pt idx="52">
                        <c:v>39203</c:v>
                      </c:pt>
                      <c:pt idx="53">
                        <c:v>39234</c:v>
                      </c:pt>
                      <c:pt idx="54">
                        <c:v>39264</c:v>
                      </c:pt>
                      <c:pt idx="55">
                        <c:v>39295</c:v>
                      </c:pt>
                      <c:pt idx="56">
                        <c:v>39326</c:v>
                      </c:pt>
                      <c:pt idx="57">
                        <c:v>39356</c:v>
                      </c:pt>
                      <c:pt idx="58">
                        <c:v>39387</c:v>
                      </c:pt>
                      <c:pt idx="59">
                        <c:v>39417</c:v>
                      </c:pt>
                      <c:pt idx="60">
                        <c:v>39448</c:v>
                      </c:pt>
                      <c:pt idx="61">
                        <c:v>39479</c:v>
                      </c:pt>
                      <c:pt idx="62">
                        <c:v>39508</c:v>
                      </c:pt>
                      <c:pt idx="63">
                        <c:v>39539</c:v>
                      </c:pt>
                      <c:pt idx="64">
                        <c:v>39569</c:v>
                      </c:pt>
                      <c:pt idx="65">
                        <c:v>39600</c:v>
                      </c:pt>
                      <c:pt idx="66">
                        <c:v>39630</c:v>
                      </c:pt>
                      <c:pt idx="67">
                        <c:v>39661</c:v>
                      </c:pt>
                      <c:pt idx="68">
                        <c:v>39692</c:v>
                      </c:pt>
                      <c:pt idx="69">
                        <c:v>39722</c:v>
                      </c:pt>
                      <c:pt idx="70">
                        <c:v>39753</c:v>
                      </c:pt>
                      <c:pt idx="71">
                        <c:v>39783</c:v>
                      </c:pt>
                      <c:pt idx="72">
                        <c:v>39814</c:v>
                      </c:pt>
                      <c:pt idx="73">
                        <c:v>39845</c:v>
                      </c:pt>
                      <c:pt idx="74">
                        <c:v>39873</c:v>
                      </c:pt>
                      <c:pt idx="75">
                        <c:v>39904</c:v>
                      </c:pt>
                      <c:pt idx="76">
                        <c:v>39934</c:v>
                      </c:pt>
                      <c:pt idx="77">
                        <c:v>39965</c:v>
                      </c:pt>
                      <c:pt idx="78">
                        <c:v>39995</c:v>
                      </c:pt>
                      <c:pt idx="79">
                        <c:v>40026</c:v>
                      </c:pt>
                      <c:pt idx="80">
                        <c:v>40057</c:v>
                      </c:pt>
                      <c:pt idx="81">
                        <c:v>40087</c:v>
                      </c:pt>
                      <c:pt idx="82">
                        <c:v>40118</c:v>
                      </c:pt>
                      <c:pt idx="83">
                        <c:v>40148</c:v>
                      </c:pt>
                      <c:pt idx="84">
                        <c:v>40179</c:v>
                      </c:pt>
                      <c:pt idx="85">
                        <c:v>40210</c:v>
                      </c:pt>
                      <c:pt idx="86">
                        <c:v>40238</c:v>
                      </c:pt>
                      <c:pt idx="87">
                        <c:v>40269</c:v>
                      </c:pt>
                      <c:pt idx="88">
                        <c:v>40299</c:v>
                      </c:pt>
                      <c:pt idx="89">
                        <c:v>40330</c:v>
                      </c:pt>
                      <c:pt idx="90">
                        <c:v>40360</c:v>
                      </c:pt>
                      <c:pt idx="91">
                        <c:v>40391</c:v>
                      </c:pt>
                      <c:pt idx="92">
                        <c:v>40422</c:v>
                      </c:pt>
                      <c:pt idx="93">
                        <c:v>40452</c:v>
                      </c:pt>
                      <c:pt idx="94">
                        <c:v>40483</c:v>
                      </c:pt>
                      <c:pt idx="95">
                        <c:v>40513</c:v>
                      </c:pt>
                      <c:pt idx="96">
                        <c:v>40544</c:v>
                      </c:pt>
                      <c:pt idx="97">
                        <c:v>40575</c:v>
                      </c:pt>
                      <c:pt idx="98">
                        <c:v>40603</c:v>
                      </c:pt>
                      <c:pt idx="99">
                        <c:v>40634</c:v>
                      </c:pt>
                      <c:pt idx="100">
                        <c:v>40664</c:v>
                      </c:pt>
                      <c:pt idx="101">
                        <c:v>40695</c:v>
                      </c:pt>
                      <c:pt idx="102">
                        <c:v>40725</c:v>
                      </c:pt>
                      <c:pt idx="103">
                        <c:v>40756</c:v>
                      </c:pt>
                      <c:pt idx="104">
                        <c:v>40787</c:v>
                      </c:pt>
                      <c:pt idx="105">
                        <c:v>40817</c:v>
                      </c:pt>
                      <c:pt idx="106">
                        <c:v>40848</c:v>
                      </c:pt>
                      <c:pt idx="107">
                        <c:v>40878</c:v>
                      </c:pt>
                      <c:pt idx="108">
                        <c:v>40909</c:v>
                      </c:pt>
                      <c:pt idx="109">
                        <c:v>40940</c:v>
                      </c:pt>
                      <c:pt idx="110">
                        <c:v>40969</c:v>
                      </c:pt>
                      <c:pt idx="111">
                        <c:v>41000</c:v>
                      </c:pt>
                      <c:pt idx="112">
                        <c:v>41030</c:v>
                      </c:pt>
                      <c:pt idx="113">
                        <c:v>41061</c:v>
                      </c:pt>
                      <c:pt idx="114">
                        <c:v>41091</c:v>
                      </c:pt>
                      <c:pt idx="115">
                        <c:v>41122</c:v>
                      </c:pt>
                      <c:pt idx="116">
                        <c:v>41153</c:v>
                      </c:pt>
                      <c:pt idx="117">
                        <c:v>41183</c:v>
                      </c:pt>
                      <c:pt idx="118">
                        <c:v>41214</c:v>
                      </c:pt>
                      <c:pt idx="119">
                        <c:v>41244</c:v>
                      </c:pt>
                      <c:pt idx="120">
                        <c:v>41275</c:v>
                      </c:pt>
                      <c:pt idx="121">
                        <c:v>41306</c:v>
                      </c:pt>
                      <c:pt idx="122">
                        <c:v>41334</c:v>
                      </c:pt>
                      <c:pt idx="123">
                        <c:v>41365</c:v>
                      </c:pt>
                      <c:pt idx="124">
                        <c:v>41395</c:v>
                      </c:pt>
                      <c:pt idx="125">
                        <c:v>41426</c:v>
                      </c:pt>
                      <c:pt idx="126">
                        <c:v>41456</c:v>
                      </c:pt>
                      <c:pt idx="127">
                        <c:v>41487</c:v>
                      </c:pt>
                      <c:pt idx="128">
                        <c:v>41518</c:v>
                      </c:pt>
                      <c:pt idx="129">
                        <c:v>41548</c:v>
                      </c:pt>
                      <c:pt idx="130">
                        <c:v>41579</c:v>
                      </c:pt>
                      <c:pt idx="131">
                        <c:v>41609</c:v>
                      </c:pt>
                      <c:pt idx="132">
                        <c:v>41640</c:v>
                      </c:pt>
                      <c:pt idx="133">
                        <c:v>41671</c:v>
                      </c:pt>
                      <c:pt idx="134">
                        <c:v>41699</c:v>
                      </c:pt>
                      <c:pt idx="135">
                        <c:v>41730</c:v>
                      </c:pt>
                      <c:pt idx="136">
                        <c:v>41760</c:v>
                      </c:pt>
                      <c:pt idx="137">
                        <c:v>41791</c:v>
                      </c:pt>
                      <c:pt idx="138">
                        <c:v>41821</c:v>
                      </c:pt>
                      <c:pt idx="139">
                        <c:v>41852</c:v>
                      </c:pt>
                      <c:pt idx="140">
                        <c:v>41883</c:v>
                      </c:pt>
                      <c:pt idx="141">
                        <c:v>41913</c:v>
                      </c:pt>
                      <c:pt idx="142">
                        <c:v>41944</c:v>
                      </c:pt>
                      <c:pt idx="143">
                        <c:v>41974</c:v>
                      </c:pt>
                      <c:pt idx="144">
                        <c:v>42005</c:v>
                      </c:pt>
                      <c:pt idx="145">
                        <c:v>42036</c:v>
                      </c:pt>
                      <c:pt idx="146">
                        <c:v>42064</c:v>
                      </c:pt>
                      <c:pt idx="147">
                        <c:v>42095</c:v>
                      </c:pt>
                      <c:pt idx="148">
                        <c:v>42125</c:v>
                      </c:pt>
                      <c:pt idx="149">
                        <c:v>42156</c:v>
                      </c:pt>
                      <c:pt idx="150">
                        <c:v>42186</c:v>
                      </c:pt>
                      <c:pt idx="151">
                        <c:v>42217</c:v>
                      </c:pt>
                      <c:pt idx="152">
                        <c:v>42248</c:v>
                      </c:pt>
                      <c:pt idx="153">
                        <c:v>42278</c:v>
                      </c:pt>
                      <c:pt idx="154">
                        <c:v>42309</c:v>
                      </c:pt>
                      <c:pt idx="155">
                        <c:v>42339</c:v>
                      </c:pt>
                      <c:pt idx="156">
                        <c:v>42370</c:v>
                      </c:pt>
                      <c:pt idx="157">
                        <c:v>42401</c:v>
                      </c:pt>
                      <c:pt idx="158">
                        <c:v>42430</c:v>
                      </c:pt>
                      <c:pt idx="159">
                        <c:v>42461</c:v>
                      </c:pt>
                      <c:pt idx="160">
                        <c:v>42491</c:v>
                      </c:pt>
                      <c:pt idx="161">
                        <c:v>42522</c:v>
                      </c:pt>
                      <c:pt idx="162">
                        <c:v>42552</c:v>
                      </c:pt>
                      <c:pt idx="163">
                        <c:v>42583</c:v>
                      </c:pt>
                      <c:pt idx="164">
                        <c:v>42614</c:v>
                      </c:pt>
                      <c:pt idx="165">
                        <c:v>42644</c:v>
                      </c:pt>
                      <c:pt idx="166">
                        <c:v>42675</c:v>
                      </c:pt>
                      <c:pt idx="167">
                        <c:v>42705</c:v>
                      </c:pt>
                      <c:pt idx="168">
                        <c:v>42736</c:v>
                      </c:pt>
                      <c:pt idx="169">
                        <c:v>42767</c:v>
                      </c:pt>
                      <c:pt idx="170">
                        <c:v>42795</c:v>
                      </c:pt>
                      <c:pt idx="171">
                        <c:v>42826</c:v>
                      </c:pt>
                      <c:pt idx="172">
                        <c:v>42856</c:v>
                      </c:pt>
                      <c:pt idx="173">
                        <c:v>42887</c:v>
                      </c:pt>
                      <c:pt idx="174">
                        <c:v>42917</c:v>
                      </c:pt>
                      <c:pt idx="175">
                        <c:v>42948</c:v>
                      </c:pt>
                      <c:pt idx="176">
                        <c:v>42979</c:v>
                      </c:pt>
                      <c:pt idx="177">
                        <c:v>43009</c:v>
                      </c:pt>
                      <c:pt idx="178">
                        <c:v>43040</c:v>
                      </c:pt>
                      <c:pt idx="179">
                        <c:v>43070</c:v>
                      </c:pt>
                      <c:pt idx="180">
                        <c:v>43101</c:v>
                      </c:pt>
                      <c:pt idx="181">
                        <c:v>43132</c:v>
                      </c:pt>
                      <c:pt idx="182">
                        <c:v>43160</c:v>
                      </c:pt>
                      <c:pt idx="183">
                        <c:v>43191</c:v>
                      </c:pt>
                      <c:pt idx="184">
                        <c:v>43221</c:v>
                      </c:pt>
                      <c:pt idx="185">
                        <c:v>43252</c:v>
                      </c:pt>
                      <c:pt idx="186">
                        <c:v>43282</c:v>
                      </c:pt>
                      <c:pt idx="187">
                        <c:v>43313</c:v>
                      </c:pt>
                      <c:pt idx="188">
                        <c:v>43344</c:v>
                      </c:pt>
                      <c:pt idx="189">
                        <c:v>43374</c:v>
                      </c:pt>
                      <c:pt idx="190">
                        <c:v>43405</c:v>
                      </c:pt>
                      <c:pt idx="191">
                        <c:v>43435</c:v>
                      </c:pt>
                      <c:pt idx="192">
                        <c:v>43466</c:v>
                      </c:pt>
                      <c:pt idx="193">
                        <c:v>43497</c:v>
                      </c:pt>
                      <c:pt idx="194">
                        <c:v>43525</c:v>
                      </c:pt>
                      <c:pt idx="195">
                        <c:v>43556</c:v>
                      </c:pt>
                      <c:pt idx="196">
                        <c:v>43586</c:v>
                      </c:pt>
                      <c:pt idx="197">
                        <c:v>43617</c:v>
                      </c:pt>
                      <c:pt idx="198">
                        <c:v>43647</c:v>
                      </c:pt>
                      <c:pt idx="199">
                        <c:v>43678</c:v>
                      </c:pt>
                      <c:pt idx="200">
                        <c:v>4370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X$2:$X$202</c15:sqref>
                        </c15:formulaRef>
                      </c:ext>
                    </c:extLst>
                    <c:numCache>
                      <c:formatCode>#,##0_ ;\-#,##0\ </c:formatCode>
                      <c:ptCount val="201"/>
                      <c:pt idx="0">
                        <c:v>100</c:v>
                      </c:pt>
                      <c:pt idx="1">
                        <c:v>103.48</c:v>
                      </c:pt>
                      <c:pt idx="2">
                        <c:v>102.54</c:v>
                      </c:pt>
                      <c:pt idx="3">
                        <c:v>103.55</c:v>
                      </c:pt>
                      <c:pt idx="4">
                        <c:v>102.64</c:v>
                      </c:pt>
                      <c:pt idx="5">
                        <c:v>103.14</c:v>
                      </c:pt>
                      <c:pt idx="6">
                        <c:v>104.19</c:v>
                      </c:pt>
                      <c:pt idx="7">
                        <c:v>105.81</c:v>
                      </c:pt>
                      <c:pt idx="8">
                        <c:v>104.77</c:v>
                      </c:pt>
                      <c:pt idx="9">
                        <c:v>107.57</c:v>
                      </c:pt>
                      <c:pt idx="10">
                        <c:v>107.69</c:v>
                      </c:pt>
                      <c:pt idx="11">
                        <c:v>107.11</c:v>
                      </c:pt>
                      <c:pt idx="12">
                        <c:v>111.73</c:v>
                      </c:pt>
                      <c:pt idx="13">
                        <c:v>112.57</c:v>
                      </c:pt>
                      <c:pt idx="14">
                        <c:v>113.57</c:v>
                      </c:pt>
                      <c:pt idx="15">
                        <c:v>116.81</c:v>
                      </c:pt>
                      <c:pt idx="16">
                        <c:v>116.17</c:v>
                      </c:pt>
                      <c:pt idx="17">
                        <c:v>115.17</c:v>
                      </c:pt>
                      <c:pt idx="18">
                        <c:v>115.17</c:v>
                      </c:pt>
                      <c:pt idx="19">
                        <c:v>119.27</c:v>
                      </c:pt>
                      <c:pt idx="20">
                        <c:v>118.64</c:v>
                      </c:pt>
                      <c:pt idx="21">
                        <c:v>119</c:v>
                      </c:pt>
                      <c:pt idx="22">
                        <c:v>120.26</c:v>
                      </c:pt>
                      <c:pt idx="23">
                        <c:v>118.11</c:v>
                      </c:pt>
                      <c:pt idx="24">
                        <c:v>122.74</c:v>
                      </c:pt>
                      <c:pt idx="25">
                        <c:v>121.61</c:v>
                      </c:pt>
                      <c:pt idx="26">
                        <c:v>127.18</c:v>
                      </c:pt>
                      <c:pt idx="27">
                        <c:v>126.91</c:v>
                      </c:pt>
                      <c:pt idx="28">
                        <c:v>126.68</c:v>
                      </c:pt>
                      <c:pt idx="29">
                        <c:v>125.24</c:v>
                      </c:pt>
                      <c:pt idx="30">
                        <c:v>127.37</c:v>
                      </c:pt>
                      <c:pt idx="31">
                        <c:v>131.69999999999999</c:v>
                      </c:pt>
                      <c:pt idx="32">
                        <c:v>130.57</c:v>
                      </c:pt>
                      <c:pt idx="33">
                        <c:v>130.72</c:v>
                      </c:pt>
                      <c:pt idx="34">
                        <c:v>130.53</c:v>
                      </c:pt>
                      <c:pt idx="35">
                        <c:v>130.66</c:v>
                      </c:pt>
                      <c:pt idx="36">
                        <c:v>135</c:v>
                      </c:pt>
                      <c:pt idx="37">
                        <c:v>137.75</c:v>
                      </c:pt>
                      <c:pt idx="38">
                        <c:v>139.35</c:v>
                      </c:pt>
                      <c:pt idx="39">
                        <c:v>139.97999999999999</c:v>
                      </c:pt>
                      <c:pt idx="40">
                        <c:v>144.26</c:v>
                      </c:pt>
                      <c:pt idx="41">
                        <c:v>143.16</c:v>
                      </c:pt>
                      <c:pt idx="42">
                        <c:v>141.38999999999999</c:v>
                      </c:pt>
                      <c:pt idx="43">
                        <c:v>147.85</c:v>
                      </c:pt>
                      <c:pt idx="44">
                        <c:v>148.72</c:v>
                      </c:pt>
                      <c:pt idx="45">
                        <c:v>148.31</c:v>
                      </c:pt>
                      <c:pt idx="46">
                        <c:v>149.9</c:v>
                      </c:pt>
                      <c:pt idx="47">
                        <c:v>148.57</c:v>
                      </c:pt>
                      <c:pt idx="48">
                        <c:v>155.63999999999999</c:v>
                      </c:pt>
                      <c:pt idx="49">
                        <c:v>155.22999999999999</c:v>
                      </c:pt>
                      <c:pt idx="50">
                        <c:v>159.41999999999999</c:v>
                      </c:pt>
                      <c:pt idx="51">
                        <c:v>160.13</c:v>
                      </c:pt>
                      <c:pt idx="52">
                        <c:v>160.44999999999999</c:v>
                      </c:pt>
                      <c:pt idx="53">
                        <c:v>159.41</c:v>
                      </c:pt>
                      <c:pt idx="54">
                        <c:v>157.31</c:v>
                      </c:pt>
                      <c:pt idx="55">
                        <c:v>159.11000000000001</c:v>
                      </c:pt>
                      <c:pt idx="56">
                        <c:v>156.29</c:v>
                      </c:pt>
                      <c:pt idx="57">
                        <c:v>156.4</c:v>
                      </c:pt>
                      <c:pt idx="58">
                        <c:v>154.9</c:v>
                      </c:pt>
                      <c:pt idx="59">
                        <c:v>152.44999999999999</c:v>
                      </c:pt>
                      <c:pt idx="60">
                        <c:v>156.30000000000001</c:v>
                      </c:pt>
                      <c:pt idx="61">
                        <c:v>159.32</c:v>
                      </c:pt>
                      <c:pt idx="62">
                        <c:v>158.91</c:v>
                      </c:pt>
                      <c:pt idx="63">
                        <c:v>159.03</c:v>
                      </c:pt>
                      <c:pt idx="64">
                        <c:v>158.24</c:v>
                      </c:pt>
                      <c:pt idx="65">
                        <c:v>157.15</c:v>
                      </c:pt>
                      <c:pt idx="66">
                        <c:v>156.4</c:v>
                      </c:pt>
                      <c:pt idx="67">
                        <c:v>155.16999999999999</c:v>
                      </c:pt>
                      <c:pt idx="68">
                        <c:v>153.46</c:v>
                      </c:pt>
                      <c:pt idx="69">
                        <c:v>148.78</c:v>
                      </c:pt>
                      <c:pt idx="70">
                        <c:v>145.34</c:v>
                      </c:pt>
                      <c:pt idx="71">
                        <c:v>146.35</c:v>
                      </c:pt>
                      <c:pt idx="72">
                        <c:v>149.19999999999999</c:v>
                      </c:pt>
                      <c:pt idx="73">
                        <c:v>154.09</c:v>
                      </c:pt>
                      <c:pt idx="74">
                        <c:v>156.5</c:v>
                      </c:pt>
                      <c:pt idx="75">
                        <c:v>160.32</c:v>
                      </c:pt>
                      <c:pt idx="76">
                        <c:v>160.82</c:v>
                      </c:pt>
                      <c:pt idx="77">
                        <c:v>161.22</c:v>
                      </c:pt>
                      <c:pt idx="78">
                        <c:v>163.27000000000001</c:v>
                      </c:pt>
                      <c:pt idx="79">
                        <c:v>166.58</c:v>
                      </c:pt>
                      <c:pt idx="80">
                        <c:v>166.17</c:v>
                      </c:pt>
                      <c:pt idx="81">
                        <c:v>166.59</c:v>
                      </c:pt>
                      <c:pt idx="82">
                        <c:v>166.9</c:v>
                      </c:pt>
                      <c:pt idx="83">
                        <c:v>165.64</c:v>
                      </c:pt>
                      <c:pt idx="84">
                        <c:v>170.34</c:v>
                      </c:pt>
                      <c:pt idx="85">
                        <c:v>172.77</c:v>
                      </c:pt>
                      <c:pt idx="86">
                        <c:v>173.15</c:v>
                      </c:pt>
                      <c:pt idx="87">
                        <c:v>175</c:v>
                      </c:pt>
                      <c:pt idx="88">
                        <c:v>176.36</c:v>
                      </c:pt>
                      <c:pt idx="89">
                        <c:v>176.06</c:v>
                      </c:pt>
                      <c:pt idx="90">
                        <c:v>176.03</c:v>
                      </c:pt>
                      <c:pt idx="91">
                        <c:v>178.25</c:v>
                      </c:pt>
                      <c:pt idx="92">
                        <c:v>178.75</c:v>
                      </c:pt>
                      <c:pt idx="93">
                        <c:v>178.87</c:v>
                      </c:pt>
                      <c:pt idx="94">
                        <c:v>180.88</c:v>
                      </c:pt>
                      <c:pt idx="95">
                        <c:v>177.75</c:v>
                      </c:pt>
                      <c:pt idx="96">
                        <c:v>183.83</c:v>
                      </c:pt>
                      <c:pt idx="97">
                        <c:v>186.06</c:v>
                      </c:pt>
                      <c:pt idx="98">
                        <c:v>189.22</c:v>
                      </c:pt>
                      <c:pt idx="99">
                        <c:v>191.56</c:v>
                      </c:pt>
                      <c:pt idx="100">
                        <c:v>193.56</c:v>
                      </c:pt>
                      <c:pt idx="101">
                        <c:v>193.84</c:v>
                      </c:pt>
                      <c:pt idx="102">
                        <c:v>191.69</c:v>
                      </c:pt>
                      <c:pt idx="103">
                        <c:v>195.64</c:v>
                      </c:pt>
                      <c:pt idx="104">
                        <c:v>198.12</c:v>
                      </c:pt>
                      <c:pt idx="105">
                        <c:v>195.96</c:v>
                      </c:pt>
                      <c:pt idx="106">
                        <c:v>197.55</c:v>
                      </c:pt>
                      <c:pt idx="107">
                        <c:v>196.2</c:v>
                      </c:pt>
                      <c:pt idx="108">
                        <c:v>200.36</c:v>
                      </c:pt>
                      <c:pt idx="109">
                        <c:v>202.2</c:v>
                      </c:pt>
                      <c:pt idx="110">
                        <c:v>206.6</c:v>
                      </c:pt>
                      <c:pt idx="111">
                        <c:v>208.15</c:v>
                      </c:pt>
                      <c:pt idx="112">
                        <c:v>208.98</c:v>
                      </c:pt>
                      <c:pt idx="113">
                        <c:v>209.17</c:v>
                      </c:pt>
                      <c:pt idx="114">
                        <c:v>208.35</c:v>
                      </c:pt>
                      <c:pt idx="115">
                        <c:v>212.91</c:v>
                      </c:pt>
                      <c:pt idx="116">
                        <c:v>212.2</c:v>
                      </c:pt>
                      <c:pt idx="117">
                        <c:v>211.15</c:v>
                      </c:pt>
                      <c:pt idx="118">
                        <c:v>211.5</c:v>
                      </c:pt>
                      <c:pt idx="119">
                        <c:v>211.2</c:v>
                      </c:pt>
                      <c:pt idx="120">
                        <c:v>218.61</c:v>
                      </c:pt>
                      <c:pt idx="121">
                        <c:v>223.21</c:v>
                      </c:pt>
                      <c:pt idx="122">
                        <c:v>221.52</c:v>
                      </c:pt>
                      <c:pt idx="123">
                        <c:v>225.98</c:v>
                      </c:pt>
                      <c:pt idx="124">
                        <c:v>225.99</c:v>
                      </c:pt>
                      <c:pt idx="125">
                        <c:v>223.17</c:v>
                      </c:pt>
                      <c:pt idx="126">
                        <c:v>220.79</c:v>
                      </c:pt>
                      <c:pt idx="127">
                        <c:v>225.49</c:v>
                      </c:pt>
                      <c:pt idx="128">
                        <c:v>221.34</c:v>
                      </c:pt>
                      <c:pt idx="129">
                        <c:v>220.27</c:v>
                      </c:pt>
                      <c:pt idx="130">
                        <c:v>215.75</c:v>
                      </c:pt>
                      <c:pt idx="131">
                        <c:v>213.75</c:v>
                      </c:pt>
                      <c:pt idx="132">
                        <c:v>219.3</c:v>
                      </c:pt>
                      <c:pt idx="133">
                        <c:v>222.49</c:v>
                      </c:pt>
                      <c:pt idx="134">
                        <c:v>223.43</c:v>
                      </c:pt>
                      <c:pt idx="135">
                        <c:v>225.75</c:v>
                      </c:pt>
                      <c:pt idx="136">
                        <c:v>227.2</c:v>
                      </c:pt>
                      <c:pt idx="137">
                        <c:v>227.15</c:v>
                      </c:pt>
                      <c:pt idx="138">
                        <c:v>226.08</c:v>
                      </c:pt>
                      <c:pt idx="139">
                        <c:v>229.49</c:v>
                      </c:pt>
                      <c:pt idx="140">
                        <c:v>227.69</c:v>
                      </c:pt>
                      <c:pt idx="141">
                        <c:v>225.88</c:v>
                      </c:pt>
                      <c:pt idx="142">
                        <c:v>227.9</c:v>
                      </c:pt>
                      <c:pt idx="143">
                        <c:v>228.94</c:v>
                      </c:pt>
                      <c:pt idx="144">
                        <c:v>232.03</c:v>
                      </c:pt>
                      <c:pt idx="145">
                        <c:v>237.85</c:v>
                      </c:pt>
                      <c:pt idx="146">
                        <c:v>236.21</c:v>
                      </c:pt>
                      <c:pt idx="147">
                        <c:v>240.01</c:v>
                      </c:pt>
                      <c:pt idx="148">
                        <c:v>238.82</c:v>
                      </c:pt>
                      <c:pt idx="149">
                        <c:v>238.46</c:v>
                      </c:pt>
                      <c:pt idx="150">
                        <c:v>234.36</c:v>
                      </c:pt>
                      <c:pt idx="151">
                        <c:v>241.29</c:v>
                      </c:pt>
                      <c:pt idx="152">
                        <c:v>239.56</c:v>
                      </c:pt>
                      <c:pt idx="153">
                        <c:v>235.14</c:v>
                      </c:pt>
                      <c:pt idx="154">
                        <c:v>235.39</c:v>
                      </c:pt>
                      <c:pt idx="155">
                        <c:v>232.36</c:v>
                      </c:pt>
                      <c:pt idx="156">
                        <c:v>237.85</c:v>
                      </c:pt>
                      <c:pt idx="157">
                        <c:v>238.51</c:v>
                      </c:pt>
                      <c:pt idx="158">
                        <c:v>247.65</c:v>
                      </c:pt>
                      <c:pt idx="159">
                        <c:v>248.07</c:v>
                      </c:pt>
                      <c:pt idx="160">
                        <c:v>248.13</c:v>
                      </c:pt>
                      <c:pt idx="161">
                        <c:v>248.79</c:v>
                      </c:pt>
                      <c:pt idx="162">
                        <c:v>244.14</c:v>
                      </c:pt>
                      <c:pt idx="163">
                        <c:v>250.4</c:v>
                      </c:pt>
                      <c:pt idx="164">
                        <c:v>249.83</c:v>
                      </c:pt>
                      <c:pt idx="165">
                        <c:v>248.33</c:v>
                      </c:pt>
                      <c:pt idx="166">
                        <c:v>247.63</c:v>
                      </c:pt>
                      <c:pt idx="167">
                        <c:v>240.99</c:v>
                      </c:pt>
                      <c:pt idx="168">
                        <c:v>252.12</c:v>
                      </c:pt>
                      <c:pt idx="169">
                        <c:v>259.33</c:v>
                      </c:pt>
                      <c:pt idx="170">
                        <c:v>258.45</c:v>
                      </c:pt>
                      <c:pt idx="171">
                        <c:v>258.33999999999997</c:v>
                      </c:pt>
                      <c:pt idx="172">
                        <c:v>260.77</c:v>
                      </c:pt>
                      <c:pt idx="173">
                        <c:v>258.64</c:v>
                      </c:pt>
                      <c:pt idx="174">
                        <c:v>260.41000000000003</c:v>
                      </c:pt>
                      <c:pt idx="175">
                        <c:v>257.70999999999998</c:v>
                      </c:pt>
                      <c:pt idx="176">
                        <c:v>252.59</c:v>
                      </c:pt>
                      <c:pt idx="177">
                        <c:v>252.63</c:v>
                      </c:pt>
                      <c:pt idx="178">
                        <c:v>247.82</c:v>
                      </c:pt>
                      <c:pt idx="179">
                        <c:v>246</c:v>
                      </c:pt>
                      <c:pt idx="180">
                        <c:v>252.91</c:v>
                      </c:pt>
                      <c:pt idx="181">
                        <c:v>253.47</c:v>
                      </c:pt>
                      <c:pt idx="182">
                        <c:v>256.02</c:v>
                      </c:pt>
                      <c:pt idx="183">
                        <c:v>260.64999999999998</c:v>
                      </c:pt>
                      <c:pt idx="184">
                        <c:v>262.37</c:v>
                      </c:pt>
                      <c:pt idx="185">
                        <c:v>259.7</c:v>
                      </c:pt>
                      <c:pt idx="186">
                        <c:v>255.65</c:v>
                      </c:pt>
                      <c:pt idx="187">
                        <c:v>260.39</c:v>
                      </c:pt>
                      <c:pt idx="188">
                        <c:v>256.24</c:v>
                      </c:pt>
                      <c:pt idx="189">
                        <c:v>256.25</c:v>
                      </c:pt>
                      <c:pt idx="190">
                        <c:v>250.86</c:v>
                      </c:pt>
                      <c:pt idx="191">
                        <c:v>245.96</c:v>
                      </c:pt>
                      <c:pt idx="192">
                        <c:v>255.81</c:v>
                      </c:pt>
                      <c:pt idx="193">
                        <c:v>258.89999999999998</c:v>
                      </c:pt>
                      <c:pt idx="194">
                        <c:v>259.14</c:v>
                      </c:pt>
                      <c:pt idx="195">
                        <c:v>260.8</c:v>
                      </c:pt>
                      <c:pt idx="196">
                        <c:v>261.66000000000003</c:v>
                      </c:pt>
                      <c:pt idx="197">
                        <c:v>262.88</c:v>
                      </c:pt>
                      <c:pt idx="198">
                        <c:v>258.91000000000003</c:v>
                      </c:pt>
                      <c:pt idx="199">
                        <c:v>263.08</c:v>
                      </c:pt>
                      <c:pt idx="200">
                        <c:v>258.16000000000003</c:v>
                      </c:pt>
                    </c:numCache>
                  </c:numRef>
                </c:val>
                <c:smooth val="0"/>
              </c15:ser>
            </c15:filteredLineSeries>
          </c:ext>
        </c:extLst>
      </c:lineChart>
      <c:dateAx>
        <c:axId val="65831300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58319672"/>
        <c:crosses val="autoZero"/>
        <c:auto val="1"/>
        <c:lblOffset val="100"/>
        <c:baseTimeUnit val="months"/>
      </c:dateAx>
      <c:valAx>
        <c:axId val="658319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 ;\-#,##0\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58313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651668313872419E-2"/>
          <c:y val="9.4992788093565858E-2"/>
          <c:w val="0.88972234924555171"/>
          <c:h val="0.798334452392661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Netto tapkostna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B$2:$B$6</c:f>
              <c:numCache>
                <c:formatCode>_ * #,##0_ ;_ * \-#,##0_ ;_ * "-"??_ ;_ @_ </c:formatCode>
                <c:ptCount val="5"/>
                <c:pt idx="0">
                  <c:v>-8.0739999999999998</c:v>
                </c:pt>
                <c:pt idx="1">
                  <c:v>-9.3740000000000006</c:v>
                </c:pt>
                <c:pt idx="2">
                  <c:v>6</c:v>
                </c:pt>
                <c:pt idx="3">
                  <c:v>-2.1080000000000001</c:v>
                </c:pt>
                <c:pt idx="4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1065008"/>
        <c:axId val="831066968"/>
      </c:barChart>
      <c:catAx>
        <c:axId val="8310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66968"/>
        <c:crosses val="autoZero"/>
        <c:auto val="1"/>
        <c:lblAlgn val="ctr"/>
        <c:lblOffset val="100"/>
        <c:noMultiLvlLbl val="0"/>
      </c:catAx>
      <c:valAx>
        <c:axId val="831066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_ ;_ * \-#,##0_ ;_ * &quot;-&quot;??_ ;_ @_ 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65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</c:legendEntry>
      <c:layout>
        <c:manualLayout>
          <c:xMode val="edge"/>
          <c:yMode val="edge"/>
          <c:x val="0.41223160907065987"/>
          <c:y val="3.0674449743179497E-2"/>
          <c:w val="0.21592022607108763"/>
          <c:h val="5.35442590196216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915228937316971E-2"/>
          <c:y val="7.6747366853067614E-2"/>
          <c:w val="0.91015503682693755"/>
          <c:h val="0.826585496539554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EK-avkastn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6</c:f>
              <c:numCache>
                <c:formatCode>0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 formatCode="m/d/yyyy">
                  <c:v>43738</c:v>
                </c:pt>
              </c:numCache>
            </c:numRef>
          </c:cat>
          <c:val>
            <c:numRef>
              <c:f>'Ark1'!$B$2:$B$6</c:f>
              <c:numCache>
                <c:formatCode>0.0\ %</c:formatCode>
                <c:ptCount val="5"/>
                <c:pt idx="0">
                  <c:v>7.5999999999999998E-2</c:v>
                </c:pt>
                <c:pt idx="1">
                  <c:v>0.112</c:v>
                </c:pt>
                <c:pt idx="2">
                  <c:v>0.13</c:v>
                </c:pt>
                <c:pt idx="3">
                  <c:v>0.13600000000000001</c:v>
                </c:pt>
                <c:pt idx="4">
                  <c:v>0.121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EK-avkastning juster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6</c:f>
              <c:numCache>
                <c:formatCode>0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 formatCode="m/d/yyyy">
                  <c:v>43738</c:v>
                </c:pt>
              </c:numCache>
            </c:numRef>
          </c:cat>
          <c:val>
            <c:numRef>
              <c:f>'Ark1'!$C$2:$C$6</c:f>
              <c:numCache>
                <c:formatCode>General</c:formatCode>
                <c:ptCount val="5"/>
                <c:pt idx="2" formatCode="0.0\ %">
                  <c:v>0.107</c:v>
                </c:pt>
                <c:pt idx="3" formatCode="0.0\ %">
                  <c:v>9.9000000000000005E-2</c:v>
                </c:pt>
                <c:pt idx="4" formatCode="0.0\ %">
                  <c:v>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1064224"/>
        <c:axId val="831052072"/>
      </c:barChart>
      <c:catAx>
        <c:axId val="831064224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52072"/>
        <c:crosses val="autoZero"/>
        <c:auto val="1"/>
        <c:lblAlgn val="ctr"/>
        <c:lblOffset val="100"/>
        <c:noMultiLvlLbl val="0"/>
      </c:catAx>
      <c:valAx>
        <c:axId val="83105207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\ %" sourceLinked="1"/>
        <c:majorTickMark val="none"/>
        <c:minorTickMark val="none"/>
        <c:tickLblPos val="nextTo"/>
        <c:crossAx val="83106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52388022001827E-3"/>
          <c:y val="6.9890765289936013E-2"/>
          <c:w val="0.96074915450531995"/>
          <c:h val="0.832336262962166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rk1'!$A$2:$A$9</c:f>
              <c:strCache>
                <c:ptCount val="8"/>
                <c:pt idx="0">
                  <c:v>31.03.18</c:v>
                </c:pt>
                <c:pt idx="1">
                  <c:v>30.06.18</c:v>
                </c:pt>
                <c:pt idx="2">
                  <c:v>30.09.18</c:v>
                </c:pt>
                <c:pt idx="3">
                  <c:v>31.12.18</c:v>
                </c:pt>
                <c:pt idx="4">
                  <c:v>31.03.19</c:v>
                </c:pt>
                <c:pt idx="5">
                  <c:v>30.06.19</c:v>
                </c:pt>
                <c:pt idx="6">
                  <c:v>30.09.19</c:v>
                </c:pt>
                <c:pt idx="7">
                  <c:v>Internt kapitalmål</c:v>
                </c:pt>
              </c:strCache>
            </c:strRef>
          </c:cat>
          <c:val>
            <c:numRef>
              <c:f>'Ark1'!$B$2:$B$9</c:f>
              <c:numCache>
                <c:formatCode>General</c:formatCode>
                <c:ptCount val="8"/>
                <c:pt idx="7" formatCode="0.0\ %">
                  <c:v>0.125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Kolonne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rk1'!$A$2:$A$9</c:f>
              <c:strCache>
                <c:ptCount val="8"/>
                <c:pt idx="0">
                  <c:v>31.03.18</c:v>
                </c:pt>
                <c:pt idx="1">
                  <c:v>30.06.18</c:v>
                </c:pt>
                <c:pt idx="2">
                  <c:v>30.09.18</c:v>
                </c:pt>
                <c:pt idx="3">
                  <c:v>31.12.18</c:v>
                </c:pt>
                <c:pt idx="4">
                  <c:v>31.03.19</c:v>
                </c:pt>
                <c:pt idx="5">
                  <c:v>30.06.19</c:v>
                </c:pt>
                <c:pt idx="6">
                  <c:v>30.09.19</c:v>
                </c:pt>
                <c:pt idx="7">
                  <c:v>Internt kapitalmål</c:v>
                </c:pt>
              </c:strCache>
            </c:strRef>
          </c:cat>
          <c:val>
            <c:numRef>
              <c:f>'Ark1'!$C$2:$C$9</c:f>
              <c:numCache>
                <c:formatCode>General</c:formatCode>
                <c:ptCount val="8"/>
                <c:pt idx="7" formatCode="0.0\ %">
                  <c:v>1.9E-2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Ren kjernekapital %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68258681334543E-3"/>
                  <c:y val="-0.3834482500887568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5682586813345512E-3"/>
                  <c:y val="-0.4000495471140614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7841293406672756E-3"/>
                  <c:y val="-0.414352709951877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4114289078277006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7841293406672756E-3"/>
                  <c:y val="-0.4015835788085426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0.4123656014438985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5.3523880220016961E-3"/>
                  <c:y val="-0.4193017955705362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5.352388022001827E-3"/>
                  <c:y val="-4.1309353816024218E-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9</c:f>
              <c:strCache>
                <c:ptCount val="8"/>
                <c:pt idx="0">
                  <c:v>31.03.18</c:v>
                </c:pt>
                <c:pt idx="1">
                  <c:v>30.06.18</c:v>
                </c:pt>
                <c:pt idx="2">
                  <c:v>30.09.18</c:v>
                </c:pt>
                <c:pt idx="3">
                  <c:v>31.12.18</c:v>
                </c:pt>
                <c:pt idx="4">
                  <c:v>31.03.19</c:v>
                </c:pt>
                <c:pt idx="5">
                  <c:v>30.06.19</c:v>
                </c:pt>
                <c:pt idx="6">
                  <c:v>30.09.19</c:v>
                </c:pt>
                <c:pt idx="7">
                  <c:v>Internt kapitalmål</c:v>
                </c:pt>
              </c:strCache>
            </c:strRef>
          </c:cat>
          <c:val>
            <c:numRef>
              <c:f>'Ark1'!$D$2:$D$9</c:f>
              <c:numCache>
                <c:formatCode>0.0\ %</c:formatCode>
                <c:ptCount val="8"/>
                <c:pt idx="0">
                  <c:v>0.154</c:v>
                </c:pt>
                <c:pt idx="1">
                  <c:v>0.16209999999999999</c:v>
                </c:pt>
                <c:pt idx="2">
                  <c:v>0.1656</c:v>
                </c:pt>
                <c:pt idx="3">
                  <c:v>0.16700000000000001</c:v>
                </c:pt>
                <c:pt idx="4">
                  <c:v>0.16300000000000001</c:v>
                </c:pt>
                <c:pt idx="5">
                  <c:v>0.16600000000000001</c:v>
                </c:pt>
                <c:pt idx="6">
                  <c:v>0.16900000000000001</c:v>
                </c:pt>
                <c:pt idx="7">
                  <c:v>1.0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31058344"/>
        <c:axId val="831053248"/>
      </c:barChart>
      <c:catAx>
        <c:axId val="831058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53248"/>
        <c:crosses val="autoZero"/>
        <c:auto val="1"/>
        <c:lblAlgn val="ctr"/>
        <c:lblOffset val="100"/>
        <c:noMultiLvlLbl val="0"/>
      </c:catAx>
      <c:valAx>
        <c:axId val="83105324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31058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delete val="1"/>
      </c:legendEntry>
      <c:legendEntry>
        <c:idx val="1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12751456771489E-2"/>
          <c:y val="0.15476961400285347"/>
          <c:w val="0.93635396161417328"/>
          <c:h val="0.761796212980055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M - Utlån inklusive kredittforeta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3:$A$8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. kv. 19</c:v>
                </c:pt>
                <c:pt idx="4">
                  <c:v>2. kv. 19</c:v>
                </c:pt>
                <c:pt idx="5">
                  <c:v>3. kv. 19</c:v>
                </c:pt>
              </c:strCache>
            </c:strRef>
          </c:cat>
          <c:val>
            <c:numRef>
              <c:f>'Ark1'!$B$3:$B$8</c:f>
              <c:numCache>
                <c:formatCode>_ * #,##0.0_ ;_ * \-#,##0.0_ ;_ * "-"??_ ;_ @_ </c:formatCode>
                <c:ptCount val="6"/>
                <c:pt idx="0">
                  <c:v>28.9</c:v>
                </c:pt>
                <c:pt idx="1">
                  <c:v>31.4</c:v>
                </c:pt>
                <c:pt idx="2">
                  <c:v>34.237037000000001</c:v>
                </c:pt>
                <c:pt idx="3">
                  <c:v>34.533562000000003</c:v>
                </c:pt>
                <c:pt idx="4" formatCode="General">
                  <c:v>35.4</c:v>
                </c:pt>
                <c:pt idx="5" formatCode="General">
                  <c:v>35.5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BM - Utlån inklusive kredittforetak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3:$A$8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. kv. 19</c:v>
                </c:pt>
                <c:pt idx="4">
                  <c:v>2. kv. 19</c:v>
                </c:pt>
                <c:pt idx="5">
                  <c:v>3. kv. 19</c:v>
                </c:pt>
              </c:strCache>
            </c:strRef>
          </c:cat>
          <c:val>
            <c:numRef>
              <c:f>'Ark1'!$C$3:$C$8</c:f>
              <c:numCache>
                <c:formatCode>_(* #,##0.0_);_(* \(#,##0.0\);_(* "-"??_);_(@_)</c:formatCode>
                <c:ptCount val="6"/>
                <c:pt idx="0">
                  <c:v>7.3</c:v>
                </c:pt>
                <c:pt idx="1">
                  <c:v>7.3</c:v>
                </c:pt>
                <c:pt idx="2">
                  <c:v>7.6169980000000024</c:v>
                </c:pt>
                <c:pt idx="3">
                  <c:v>7.4276759999999982</c:v>
                </c:pt>
                <c:pt idx="4" formatCode="General">
                  <c:v>7.5</c:v>
                </c:pt>
                <c:pt idx="5" formatCode="General">
                  <c:v>7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31056384"/>
        <c:axId val="831052464"/>
      </c:barChart>
      <c:catAx>
        <c:axId val="83105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52464"/>
        <c:crosses val="autoZero"/>
        <c:auto val="1"/>
        <c:lblAlgn val="ctr"/>
        <c:lblOffset val="100"/>
        <c:noMultiLvlLbl val="0"/>
      </c:catAx>
      <c:valAx>
        <c:axId val="8310524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err="1" smtClean="0"/>
                  <a:t>Mrd</a:t>
                </a:r>
                <a:r>
                  <a:rPr lang="nb-NO" dirty="0" smtClean="0"/>
                  <a:t> kr</a:t>
                </a:r>
                <a:endParaRPr lang="nb-NO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.0_ ;_ * \-#,##0.0_ ;_ * &quot;-&quot;??_ ;_ @_ " sourceLinked="1"/>
        <c:majorTickMark val="out"/>
        <c:minorTickMark val="none"/>
        <c:tickLblPos val="nextTo"/>
        <c:crossAx val="831056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104054470210328"/>
          <c:y val="4.735020624075998E-2"/>
          <c:w val="0.74067086710837504"/>
          <c:h val="4.79623494117649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94794184129114E-2"/>
          <c:y val="0.13430867776152328"/>
          <c:w val="0.91375996555118111"/>
          <c:h val="0.809041227298152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M Innskud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. kv. 19</c:v>
                </c:pt>
                <c:pt idx="4">
                  <c:v>2. kv. 19</c:v>
                </c:pt>
                <c:pt idx="5">
                  <c:v>3. kv. 19</c:v>
                </c:pt>
              </c:strCache>
            </c:strRef>
          </c:cat>
          <c:val>
            <c:numRef>
              <c:f>'Ark1'!$B$2:$B$7</c:f>
              <c:numCache>
                <c:formatCode>_(* #,##0.0_);_(* \(#,##0.0\);_(* "-"??_);_(@_)</c:formatCode>
                <c:ptCount val="6"/>
                <c:pt idx="0">
                  <c:v>12.4</c:v>
                </c:pt>
                <c:pt idx="1">
                  <c:v>12.3</c:v>
                </c:pt>
                <c:pt idx="2" formatCode="_ * #,##0.0_ ;_ * \-#,##0.0_ ;_ * &quot;-&quot;??_ ;_ @_ ">
                  <c:v>13.4</c:v>
                </c:pt>
                <c:pt idx="3" formatCode="_ * #,##0.0_ ;_ * \-#,##0.0_ ;_ * &quot;-&quot;??_ ;_ @_ ">
                  <c:v>14.1</c:v>
                </c:pt>
                <c:pt idx="4" formatCode="General">
                  <c:v>15.4</c:v>
                </c:pt>
                <c:pt idx="5" formatCode="General">
                  <c:v>15.3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BM Innskudd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. kv. 19</c:v>
                </c:pt>
                <c:pt idx="4">
                  <c:v>2. kv. 19</c:v>
                </c:pt>
                <c:pt idx="5">
                  <c:v>3. kv. 19</c:v>
                </c:pt>
              </c:strCache>
            </c:strRef>
          </c:cat>
          <c:val>
            <c:numRef>
              <c:f>'Ark1'!$C$2:$C$7</c:f>
              <c:numCache>
                <c:formatCode>_(* #,##0.0_);_(* \(#,##0.0\);_(* "-"??_);_(@_)</c:formatCode>
                <c:ptCount val="6"/>
                <c:pt idx="0">
                  <c:v>7.6</c:v>
                </c:pt>
                <c:pt idx="1">
                  <c:v>8.6999999999999993</c:v>
                </c:pt>
                <c:pt idx="2">
                  <c:v>8.8000000000000007</c:v>
                </c:pt>
                <c:pt idx="3">
                  <c:v>9.6</c:v>
                </c:pt>
                <c:pt idx="4" formatCode="General">
                  <c:v>9.3000000000000007</c:v>
                </c:pt>
                <c:pt idx="5" formatCode="General">
                  <c:v>9.19999999999999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831065792"/>
        <c:axId val="831065400"/>
      </c:barChart>
      <c:lineChart>
        <c:grouping val="standard"/>
        <c:varyColors val="0"/>
        <c:ser>
          <c:idx val="2"/>
          <c:order val="2"/>
          <c:tx>
            <c:strRef>
              <c:f>'Ark1'!$D$1</c:f>
              <c:strCache>
                <c:ptCount val="1"/>
                <c:pt idx="0">
                  <c:v>Innskuddsdekning (ekskl kredittforetak)</c:v>
                </c:pt>
              </c:strCache>
            </c:strRef>
          </c:tx>
          <c:spPr>
            <a:ln w="28575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. kv. 19</c:v>
                </c:pt>
                <c:pt idx="4">
                  <c:v>2. kv. 19</c:v>
                </c:pt>
                <c:pt idx="5">
                  <c:v>3. kv. 19</c:v>
                </c:pt>
              </c:strCache>
            </c:strRef>
          </c:cat>
          <c:val>
            <c:numRef>
              <c:f>'Ark1'!$D$2:$D$7</c:f>
              <c:numCache>
                <c:formatCode>0.0\ %</c:formatCode>
                <c:ptCount val="6"/>
                <c:pt idx="0">
                  <c:v>0.78600000000000003</c:v>
                </c:pt>
                <c:pt idx="1">
                  <c:v>0.76500000000000001</c:v>
                </c:pt>
                <c:pt idx="2">
                  <c:v>0.75</c:v>
                </c:pt>
                <c:pt idx="3">
                  <c:v>0.80700000000000005</c:v>
                </c:pt>
                <c:pt idx="4">
                  <c:v>0.81399999999999995</c:v>
                </c:pt>
                <c:pt idx="5">
                  <c:v>0.7940000000000000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Innskuddsdekning (enkl kredittforetak)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'Ark1'!$A$2:$A$7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. kv. 19</c:v>
                </c:pt>
                <c:pt idx="4">
                  <c:v>2. kv. 19</c:v>
                </c:pt>
                <c:pt idx="5">
                  <c:v>3. kv. 19</c:v>
                </c:pt>
              </c:strCache>
            </c:strRef>
          </c:cat>
          <c:val>
            <c:numRef>
              <c:f>'Ark1'!$E$2:$E$7</c:f>
              <c:numCache>
                <c:formatCode>0.0\ %</c:formatCode>
                <c:ptCount val="6"/>
                <c:pt idx="0">
                  <c:v>0.55200000000000005</c:v>
                </c:pt>
                <c:pt idx="1">
                  <c:v>0.54300000000000004</c:v>
                </c:pt>
                <c:pt idx="2">
                  <c:v>0.52900000000000003</c:v>
                </c:pt>
                <c:pt idx="3">
                  <c:v>0.56499999999999995</c:v>
                </c:pt>
                <c:pt idx="4">
                  <c:v>0.57599999999999996</c:v>
                </c:pt>
                <c:pt idx="5">
                  <c:v>0.5639999999999999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1128392"/>
        <c:axId val="661127216"/>
      </c:lineChart>
      <c:catAx>
        <c:axId val="831065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65400"/>
        <c:crosses val="autoZero"/>
        <c:auto val="1"/>
        <c:lblAlgn val="ctr"/>
        <c:lblOffset val="100"/>
        <c:noMultiLvlLbl val="0"/>
      </c:catAx>
      <c:valAx>
        <c:axId val="831065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err="1" smtClean="0"/>
                  <a:t>Mrd</a:t>
                </a:r>
                <a:r>
                  <a:rPr lang="nb-NO" dirty="0" smtClean="0"/>
                  <a:t> kr</a:t>
                </a:r>
                <a:endParaRPr lang="nb-NO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(* #,##0.0_);_(* \(#,##0.0\);_(* &quot;-&quot;??_);_(@_)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65792"/>
        <c:crosses val="autoZero"/>
        <c:crossBetween val="between"/>
      </c:valAx>
      <c:valAx>
        <c:axId val="661127216"/>
        <c:scaling>
          <c:orientation val="minMax"/>
          <c:min val="0"/>
        </c:scaling>
        <c:delete val="0"/>
        <c:axPos val="r"/>
        <c:numFmt formatCode="0.0\ 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1128392"/>
        <c:crosses val="max"/>
        <c:crossBetween val="between"/>
      </c:valAx>
      <c:catAx>
        <c:axId val="66112839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661127216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9473000333841382E-2"/>
          <c:y val="9.3749994232898981E-3"/>
          <c:w val="0.79425837858847825"/>
          <c:h val="9.24090740397961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 smtClean="0"/>
              <a:t>Volumfordeling</a:t>
            </a:r>
            <a:r>
              <a:rPr lang="en-US" dirty="0" smtClean="0"/>
              <a:t> </a:t>
            </a:r>
          </a:p>
          <a:p>
            <a:pPr>
              <a:defRPr/>
            </a:pPr>
            <a:r>
              <a:rPr lang="en-US" dirty="0" err="1" smtClean="0"/>
              <a:t>innskudd</a:t>
            </a:r>
            <a:endParaRPr lang="en-US" dirty="0"/>
          </a:p>
        </c:rich>
      </c:tx>
      <c:layout>
        <c:manualLayout>
          <c:xMode val="edge"/>
          <c:yMode val="edge"/>
          <c:x val="0.25782402466352278"/>
          <c:y val="4.036155050644211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2123156210235512"/>
          <c:y val="0.21577284900743957"/>
          <c:w val="0.62303953645789678"/>
          <c:h val="0.63301689242121317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explosion val="1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Ark1'!$A$2:$A$3</c:f>
              <c:strCache>
                <c:ptCount val="2"/>
                <c:pt idx="0">
                  <c:v>PM</c:v>
                </c:pt>
                <c:pt idx="1">
                  <c:v>BM</c:v>
                </c:pt>
              </c:strCache>
            </c:strRef>
          </c:cat>
          <c:val>
            <c:numRef>
              <c:f>'Ark1'!$B$2:$B$3</c:f>
              <c:numCache>
                <c:formatCode>0%</c:formatCode>
                <c:ptCount val="2"/>
                <c:pt idx="0">
                  <c:v>0.63</c:v>
                </c:pt>
                <c:pt idx="1">
                  <c:v>0.37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17416297847827"/>
          <c:y val="0.11311377943601711"/>
          <c:w val="0.58859009993814793"/>
          <c:h val="0.87829194546917166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4"/>
              <c:layout>
                <c:manualLayout>
                  <c:x val="8.803418198612098E-2"/>
                  <c:y val="-2.7366480258401477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638686546179031"/>
                      <c:h val="8.9039379329649976E-2"/>
                    </c:manualLayout>
                  </c15:layout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'Ark1'!$A$2:$A$6</c:f>
              <c:strCache>
                <c:ptCount val="5"/>
                <c:pt idx="0">
                  <c:v>Personmarked</c:v>
                </c:pt>
                <c:pt idx="1">
                  <c:v>Boligkreditt</c:v>
                </c:pt>
                <c:pt idx="2">
                  <c:v>Næringseiendom</c:v>
                </c:pt>
                <c:pt idx="3">
                  <c:v>Næringskreditt</c:v>
                </c:pt>
                <c:pt idx="4">
                  <c:v>Annet </c:v>
                </c:pt>
              </c:strCache>
            </c:strRef>
          </c:cat>
          <c:val>
            <c:numRef>
              <c:f>'Ark1'!$B$2:$B$6</c:f>
              <c:numCache>
                <c:formatCode>0%</c:formatCode>
                <c:ptCount val="5"/>
                <c:pt idx="0">
                  <c:v>0.53100000000000003</c:v>
                </c:pt>
                <c:pt idx="1">
                  <c:v>0.27700000000000002</c:v>
                </c:pt>
                <c:pt idx="2">
                  <c:v>0.11600000000000001</c:v>
                </c:pt>
                <c:pt idx="3">
                  <c:v>1.2E-2</c:v>
                </c:pt>
                <c:pt idx="4">
                  <c:v>6.4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2400" b="1" dirty="0" smtClean="0">
                <a:solidFill>
                  <a:schemeClr val="accent1"/>
                </a:solidFill>
              </a:rPr>
              <a:t>Fordeling av porteføljen «Næringseiendom» </a:t>
            </a:r>
            <a:endParaRPr lang="nb-NO" sz="2400" b="1" dirty="0">
              <a:solidFill>
                <a:schemeClr val="accent1"/>
              </a:solidFill>
            </a:endParaRPr>
          </a:p>
        </c:rich>
      </c:tx>
      <c:layout>
        <c:manualLayout>
          <c:xMode val="edge"/>
          <c:yMode val="edge"/>
          <c:x val="3.1042025404890684E-2"/>
          <c:y val="1.20174413763345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19702196237998287"/>
          <c:y val="0.15643948760910323"/>
          <c:w val="0.60118923324283002"/>
          <c:h val="0.7578137025326836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rgbClr val="996633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4"/>
              <c:layout>
                <c:manualLayout>
                  <c:x val="8.7392103282077069E-2"/>
                  <c:y val="1.0014534480278779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0656315321218244E-2"/>
                  <c:y val="-3.4049417232948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'Ark2'!$C$31:$C$39</c:f>
              <c:strCache>
                <c:ptCount val="9"/>
                <c:pt idx="0">
                  <c:v>Annet </c:v>
                </c:pt>
                <c:pt idx="1">
                  <c:v>Bolig</c:v>
                </c:pt>
                <c:pt idx="2">
                  <c:v>Boligprosjekter</c:v>
                </c:pt>
                <c:pt idx="3">
                  <c:v>Handel inkl. lager </c:v>
                </c:pt>
                <c:pt idx="4">
                  <c:v>Hotell og restaurant </c:v>
                </c:pt>
                <c:pt idx="5">
                  <c:v>Industri </c:v>
                </c:pt>
                <c:pt idx="6">
                  <c:v>Kombinasjonsbygg </c:v>
                </c:pt>
                <c:pt idx="7">
                  <c:v>Kontor </c:v>
                </c:pt>
                <c:pt idx="8">
                  <c:v>Tomt </c:v>
                </c:pt>
              </c:strCache>
            </c:strRef>
          </c:cat>
          <c:val>
            <c:numRef>
              <c:f>'Ark2'!$D$31:$D$39</c:f>
              <c:numCache>
                <c:formatCode>0%</c:formatCode>
                <c:ptCount val="9"/>
                <c:pt idx="0">
                  <c:v>0.11</c:v>
                </c:pt>
                <c:pt idx="1">
                  <c:v>7.0000000000000007E-2</c:v>
                </c:pt>
                <c:pt idx="2">
                  <c:v>0.23</c:v>
                </c:pt>
                <c:pt idx="3">
                  <c:v>0.13</c:v>
                </c:pt>
                <c:pt idx="4">
                  <c:v>0.04</c:v>
                </c:pt>
                <c:pt idx="5">
                  <c:v>0.05</c:v>
                </c:pt>
                <c:pt idx="6">
                  <c:v>0.26</c:v>
                </c:pt>
                <c:pt idx="7">
                  <c:v>0.08</c:v>
                </c:pt>
                <c:pt idx="8">
                  <c:v>0.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0294523005089189"/>
          <c:y val="1.51515151515151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6.4493495241969387E-2"/>
          <c:y val="0.1281314125507039"/>
          <c:w val="0.88996646716260663"/>
          <c:h val="0.769438081603435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Trinn 1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B$2:$B$6</c:f>
              <c:numCache>
                <c:formatCode>_-* #,##0_-;\-* #,##0_-;_-* "-"??_-;_-@_-</c:formatCode>
                <c:ptCount val="5"/>
                <c:pt idx="0">
                  <c:v>25332.877</c:v>
                </c:pt>
                <c:pt idx="1">
                  <c:v>25001.045999999998</c:v>
                </c:pt>
                <c:pt idx="2">
                  <c:v>24738.850999999999</c:v>
                </c:pt>
                <c:pt idx="3">
                  <c:v>25987.120999999999</c:v>
                </c:pt>
                <c:pt idx="4">
                  <c:v>26980.6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0220536"/>
        <c:axId val="830220144"/>
      </c:barChart>
      <c:catAx>
        <c:axId val="830220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20144"/>
        <c:crosses val="autoZero"/>
        <c:auto val="1"/>
        <c:lblAlgn val="ctr"/>
        <c:lblOffset val="100"/>
        <c:noMultiLvlLbl val="0"/>
      </c:catAx>
      <c:valAx>
        <c:axId val="830220144"/>
        <c:scaling>
          <c:orientation val="minMax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layout>
            <c:manualLayout>
              <c:xMode val="edge"/>
              <c:yMode val="edge"/>
              <c:x val="0"/>
              <c:y val="0.4153051181102362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-* #,##0_-;\-* #,##0_-;_-* &quot;-&quot;??_-;_-@_-" sourceLinked="1"/>
        <c:majorTickMark val="none"/>
        <c:minorTickMark val="none"/>
        <c:tickLblPos val="nextTo"/>
        <c:crossAx val="830220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0294523005089189"/>
          <c:y val="1.51515151515151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6.4493495241969387E-2"/>
          <c:y val="0.1281314125507039"/>
          <c:w val="0.88996646716260663"/>
          <c:h val="0.769438081603435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Trinn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B$2:$B$6</c:f>
              <c:numCache>
                <c:formatCode>_-* #,##0_-;\-* #,##0_-;_-* "-"??_-;_-@_-</c:formatCode>
                <c:ptCount val="5"/>
                <c:pt idx="0">
                  <c:v>1890.799</c:v>
                </c:pt>
                <c:pt idx="1">
                  <c:v>1683.413</c:v>
                </c:pt>
                <c:pt idx="2">
                  <c:v>1868.556</c:v>
                </c:pt>
                <c:pt idx="3">
                  <c:v>1677.4069999999999</c:v>
                </c:pt>
                <c:pt idx="4">
                  <c:v>1814.1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0213872"/>
        <c:axId val="830214656"/>
      </c:barChart>
      <c:catAx>
        <c:axId val="830213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14656"/>
        <c:crosses val="autoZero"/>
        <c:auto val="1"/>
        <c:lblAlgn val="ctr"/>
        <c:lblOffset val="100"/>
        <c:noMultiLvlLbl val="0"/>
      </c:catAx>
      <c:valAx>
        <c:axId val="830214656"/>
        <c:scaling>
          <c:orientation val="minMax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layout>
            <c:manualLayout>
              <c:xMode val="edge"/>
              <c:yMode val="edge"/>
              <c:x val="0"/>
              <c:y val="0.4153051181102362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-* #,##0_-;\-* #,##0_-;_-* &quot;-&quot;??_-;_-@_-" sourceLinked="1"/>
        <c:majorTickMark val="none"/>
        <c:minorTickMark val="none"/>
        <c:tickLblPos val="nextTo"/>
        <c:crossAx val="830213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1800" b="0" i="0" baseline="0">
                <a:effectLst/>
              </a:rPr>
              <a:t>Helt ledige. Fylke. Tidsserie år</a:t>
            </a:r>
            <a:endParaRPr lang="nb-NO">
              <a:effectLst/>
            </a:endParaRPr>
          </a:p>
          <a:p>
            <a:pPr>
              <a:defRPr/>
            </a:pPr>
            <a:r>
              <a:rPr lang="nb-NO" sz="1800" b="0" i="0" baseline="0">
                <a:effectLst/>
              </a:rPr>
              <a:t>Årsgjennomsnitt. Prosent av arbeidsstyrken</a:t>
            </a:r>
            <a:endParaRPr lang="nb-NO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2.9680902658906768E-2"/>
          <c:y val="0.17530153508771928"/>
          <c:w val="0.95786438719616573"/>
          <c:h val="0.68022350146081623"/>
        </c:manualLayout>
      </c:layout>
      <c:lineChart>
        <c:grouping val="standard"/>
        <c:varyColors val="0"/>
        <c:ser>
          <c:idx val="0"/>
          <c:order val="0"/>
          <c:tx>
            <c:strRef>
              <c:f>'2. Fylke. Prosent av arbeidssty'!$B$9</c:f>
              <c:strCache>
                <c:ptCount val="1"/>
                <c:pt idx="0">
                  <c:v>I alt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9525">
                <a:solidFill>
                  <a:srgbClr val="92D050"/>
                </a:solidFill>
              </a:ln>
              <a:effectLst/>
            </c:spPr>
          </c:marker>
          <c:cat>
            <c:strRef>
              <c:f>'2. Fylke. Prosent av arbeidssty'!$C$8:$P$8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²</c:v>
                </c:pt>
                <c:pt idx="10">
                  <c:v>jun.19</c:v>
                </c:pt>
                <c:pt idx="11">
                  <c:v>jul.19</c:v>
                </c:pt>
                <c:pt idx="12">
                  <c:v>aug.19</c:v>
                </c:pt>
                <c:pt idx="13">
                  <c:v>sep.19</c:v>
                </c:pt>
              </c:strCache>
            </c:strRef>
          </c:cat>
          <c:val>
            <c:numRef>
              <c:f>'2. Fylke. Prosent av arbeidssty'!$C$9:$P$9</c:f>
              <c:numCache>
                <c:formatCode>General</c:formatCode>
                <c:ptCount val="14"/>
                <c:pt idx="0">
                  <c:v>2.7</c:v>
                </c:pt>
                <c:pt idx="1">
                  <c:v>2.9</c:v>
                </c:pt>
                <c:pt idx="2">
                  <c:v>2.7</c:v>
                </c:pt>
                <c:pt idx="3">
                  <c:v>2.5</c:v>
                </c:pt>
                <c:pt idx="4">
                  <c:v>2.6</c:v>
                </c:pt>
                <c:pt idx="5">
                  <c:v>2.8</c:v>
                </c:pt>
                <c:pt idx="6">
                  <c:v>3</c:v>
                </c:pt>
                <c:pt idx="7">
                  <c:v>3</c:v>
                </c:pt>
                <c:pt idx="8">
                  <c:v>2.7</c:v>
                </c:pt>
                <c:pt idx="9">
                  <c:v>2.4</c:v>
                </c:pt>
                <c:pt idx="10">
                  <c:v>2.1</c:v>
                </c:pt>
                <c:pt idx="11">
                  <c:v>2.4</c:v>
                </c:pt>
                <c:pt idx="12">
                  <c:v>2.2999999999999998</c:v>
                </c:pt>
                <c:pt idx="13">
                  <c:v>2.2000000000000002</c:v>
                </c:pt>
              </c:numCache>
            </c:numRef>
          </c:val>
          <c:smooth val="0"/>
        </c:ser>
        <c:ser>
          <c:idx val="3"/>
          <c:order val="1"/>
          <c:tx>
            <c:strRef>
              <c:f>'2. Fylke. Prosent av arbeidssty'!$B$12</c:f>
              <c:strCache>
                <c:ptCount val="1"/>
                <c:pt idx="0">
                  <c:v>Oslo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030A0"/>
              </a:solidFill>
              <a:ln w="9525">
                <a:solidFill>
                  <a:srgbClr val="7030A0"/>
                </a:solidFill>
              </a:ln>
              <a:effectLst/>
            </c:spPr>
          </c:marker>
          <c:cat>
            <c:strRef>
              <c:f>'2. Fylke. Prosent av arbeidssty'!$C$8:$P$8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²</c:v>
                </c:pt>
                <c:pt idx="10">
                  <c:v>jun.19</c:v>
                </c:pt>
                <c:pt idx="11">
                  <c:v>jul.19</c:v>
                </c:pt>
                <c:pt idx="12">
                  <c:v>aug.19</c:v>
                </c:pt>
                <c:pt idx="13">
                  <c:v>sep.19</c:v>
                </c:pt>
              </c:strCache>
            </c:strRef>
          </c:cat>
          <c:val>
            <c:numRef>
              <c:f>'2. Fylke. Prosent av arbeidssty'!$C$12:$P$12</c:f>
              <c:numCache>
                <c:formatCode>General</c:formatCode>
                <c:ptCount val="14"/>
                <c:pt idx="0">
                  <c:v>3.4</c:v>
                </c:pt>
                <c:pt idx="1">
                  <c:v>3.8</c:v>
                </c:pt>
                <c:pt idx="2">
                  <c:v>3.3</c:v>
                </c:pt>
                <c:pt idx="3">
                  <c:v>3.2</c:v>
                </c:pt>
                <c:pt idx="4">
                  <c:v>3.4</c:v>
                </c:pt>
                <c:pt idx="5">
                  <c:v>3.6</c:v>
                </c:pt>
                <c:pt idx="6">
                  <c:v>3.5</c:v>
                </c:pt>
                <c:pt idx="7">
                  <c:v>3.2</c:v>
                </c:pt>
                <c:pt idx="8">
                  <c:v>2.8</c:v>
                </c:pt>
                <c:pt idx="9">
                  <c:v>2.6</c:v>
                </c:pt>
                <c:pt idx="10">
                  <c:v>2.5</c:v>
                </c:pt>
                <c:pt idx="11">
                  <c:v>2.8</c:v>
                </c:pt>
                <c:pt idx="12">
                  <c:v>2.7</c:v>
                </c:pt>
                <c:pt idx="13">
                  <c:v>2.5</c:v>
                </c:pt>
              </c:numCache>
            </c:numRef>
          </c:val>
          <c:smooth val="0"/>
        </c:ser>
        <c:ser>
          <c:idx val="6"/>
          <c:order val="2"/>
          <c:tx>
            <c:strRef>
              <c:f>'2. Fylke. Prosent av arbeidssty'!$B$15</c:f>
              <c:strCache>
                <c:ptCount val="1"/>
                <c:pt idx="0">
                  <c:v>Buskerud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'2. Fylke. Prosent av arbeidssty'!$C$8:$P$8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²</c:v>
                </c:pt>
                <c:pt idx="10">
                  <c:v>jun.19</c:v>
                </c:pt>
                <c:pt idx="11">
                  <c:v>jul.19</c:v>
                </c:pt>
                <c:pt idx="12">
                  <c:v>aug.19</c:v>
                </c:pt>
                <c:pt idx="13">
                  <c:v>sep.19</c:v>
                </c:pt>
              </c:strCache>
            </c:strRef>
          </c:cat>
          <c:val>
            <c:numRef>
              <c:f>'2. Fylke. Prosent av arbeidssty'!$C$15:$P$15</c:f>
              <c:numCache>
                <c:formatCode>General</c:formatCode>
                <c:ptCount val="14"/>
                <c:pt idx="0">
                  <c:v>2.5</c:v>
                </c:pt>
                <c:pt idx="1">
                  <c:v>2.8</c:v>
                </c:pt>
                <c:pt idx="2">
                  <c:v>2.6</c:v>
                </c:pt>
                <c:pt idx="3">
                  <c:v>2.4</c:v>
                </c:pt>
                <c:pt idx="4">
                  <c:v>2.6</c:v>
                </c:pt>
                <c:pt idx="5">
                  <c:v>2.9</c:v>
                </c:pt>
                <c:pt idx="6">
                  <c:v>2.9</c:v>
                </c:pt>
                <c:pt idx="7">
                  <c:v>2.8</c:v>
                </c:pt>
                <c:pt idx="8">
                  <c:v>2.5</c:v>
                </c:pt>
                <c:pt idx="9">
                  <c:v>2.4</c:v>
                </c:pt>
                <c:pt idx="10">
                  <c:v>2.2000000000000002</c:v>
                </c:pt>
                <c:pt idx="11">
                  <c:v>2.5</c:v>
                </c:pt>
                <c:pt idx="12">
                  <c:v>2.4</c:v>
                </c:pt>
                <c:pt idx="13">
                  <c:v>2.2999999999999998</c:v>
                </c:pt>
              </c:numCache>
            </c:numRef>
          </c:val>
          <c:smooth val="0"/>
        </c:ser>
        <c:ser>
          <c:idx val="7"/>
          <c:order val="3"/>
          <c:tx>
            <c:strRef>
              <c:f>'2. Fylke. Prosent av arbeidssty'!$B$16</c:f>
              <c:strCache>
                <c:ptCount val="1"/>
                <c:pt idx="0">
                  <c:v>Vestfol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'2. Fylke. Prosent av arbeidssty'!$C$8:$P$8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²</c:v>
                </c:pt>
                <c:pt idx="10">
                  <c:v>jun.19</c:v>
                </c:pt>
                <c:pt idx="11">
                  <c:v>jul.19</c:v>
                </c:pt>
                <c:pt idx="12">
                  <c:v>aug.19</c:v>
                </c:pt>
                <c:pt idx="13">
                  <c:v>sep.19</c:v>
                </c:pt>
              </c:strCache>
            </c:strRef>
          </c:cat>
          <c:val>
            <c:numRef>
              <c:f>'2. Fylke. Prosent av arbeidssty'!$C$16:$P$16</c:f>
              <c:numCache>
                <c:formatCode>General</c:formatCode>
                <c:ptCount val="14"/>
                <c:pt idx="0">
                  <c:v>3.1</c:v>
                </c:pt>
                <c:pt idx="1">
                  <c:v>3.2</c:v>
                </c:pt>
                <c:pt idx="2">
                  <c:v>3.2</c:v>
                </c:pt>
                <c:pt idx="3">
                  <c:v>3</c:v>
                </c:pt>
                <c:pt idx="4">
                  <c:v>3</c:v>
                </c:pt>
                <c:pt idx="5">
                  <c:v>3.2</c:v>
                </c:pt>
                <c:pt idx="6">
                  <c:v>3</c:v>
                </c:pt>
                <c:pt idx="7">
                  <c:v>3.1</c:v>
                </c:pt>
                <c:pt idx="8">
                  <c:v>3.1</c:v>
                </c:pt>
                <c:pt idx="9">
                  <c:v>2.9</c:v>
                </c:pt>
                <c:pt idx="10">
                  <c:v>2.6</c:v>
                </c:pt>
                <c:pt idx="11">
                  <c:v>2.9</c:v>
                </c:pt>
                <c:pt idx="12">
                  <c:v>2.8</c:v>
                </c:pt>
                <c:pt idx="13">
                  <c:v>2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8320456"/>
        <c:axId val="658313400"/>
      </c:lineChart>
      <c:catAx>
        <c:axId val="658320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58313400"/>
        <c:crosses val="autoZero"/>
        <c:auto val="1"/>
        <c:lblAlgn val="ctr"/>
        <c:lblOffset val="100"/>
        <c:noMultiLvlLbl val="0"/>
      </c:catAx>
      <c:valAx>
        <c:axId val="658313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58320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125866569667924"/>
          <c:y val="0.94612432154963"/>
          <c:w val="0.30201165411388792"/>
          <c:h val="5.387567845037000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0294523005089189"/>
          <c:y val="1.51515151515151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6.4493495241969401E-2"/>
          <c:y val="0.13570717012646147"/>
          <c:w val="0.88996646716260663"/>
          <c:h val="0.769438081603435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Trinn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B$2:$B$6</c:f>
              <c:numCache>
                <c:formatCode>_-* #,##0_-;\-* #,##0_-;_-* "-"??_-;_-@_-</c:formatCode>
                <c:ptCount val="5"/>
                <c:pt idx="0">
                  <c:v>259.70699999999999</c:v>
                </c:pt>
                <c:pt idx="1">
                  <c:v>319.392</c:v>
                </c:pt>
                <c:pt idx="2">
                  <c:v>258.60300000000001</c:v>
                </c:pt>
                <c:pt idx="3">
                  <c:v>264.8</c:v>
                </c:pt>
                <c:pt idx="4">
                  <c:v>258.088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0220928"/>
        <c:axId val="830215048"/>
      </c:barChart>
      <c:catAx>
        <c:axId val="830220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15048"/>
        <c:crosses val="autoZero"/>
        <c:auto val="1"/>
        <c:lblAlgn val="ctr"/>
        <c:lblOffset val="100"/>
        <c:noMultiLvlLbl val="0"/>
      </c:catAx>
      <c:valAx>
        <c:axId val="830215048"/>
        <c:scaling>
          <c:orientation val="minMax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</a:t>
                </a:r>
                <a:r>
                  <a:rPr lang="nb-NO" baseline="0" dirty="0" smtClean="0"/>
                  <a:t> kr</a:t>
                </a:r>
                <a:endParaRPr lang="nb-NO" dirty="0"/>
              </a:p>
            </c:rich>
          </c:tx>
          <c:layout>
            <c:manualLayout>
              <c:xMode val="edge"/>
              <c:yMode val="edge"/>
              <c:x val="0"/>
              <c:y val="0.4153051181102362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-* #,##0_-;\-* #,##0_-;_-* &quot;-&quot;??_-;_-@_-" sourceLinked="1"/>
        <c:majorTickMark val="none"/>
        <c:minorTickMark val="none"/>
        <c:tickLblPos val="nextTo"/>
        <c:crossAx val="830220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dirty="0" smtClean="0"/>
              <a:t>BM</a:t>
            </a:r>
            <a:endParaRPr lang="nb-NO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12049962131543851"/>
          <c:y val="0.10215250944341904"/>
          <c:w val="0.85662868251498936"/>
          <c:h val="0.696355018276822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4. kv. 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Boligkreditt</c:v>
                </c:pt>
                <c:pt idx="1">
                  <c:v>Næringskreditt</c:v>
                </c:pt>
                <c:pt idx="2">
                  <c:v>Lav risiko</c:v>
                </c:pt>
                <c:pt idx="3">
                  <c:v>Middels risiko</c:v>
                </c:pt>
                <c:pt idx="4">
                  <c:v>Høy risiko</c:v>
                </c:pt>
                <c:pt idx="5">
                  <c:v>Misligholdte og
 nedskrevne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0.140904</c:v>
                </c:pt>
                <c:pt idx="1">
                  <c:v>0.58373399999999998</c:v>
                </c:pt>
                <c:pt idx="2">
                  <c:v>3.3080029999999998</c:v>
                </c:pt>
                <c:pt idx="3">
                  <c:v>3.228809</c:v>
                </c:pt>
                <c:pt idx="4">
                  <c:v>1.35785</c:v>
                </c:pt>
                <c:pt idx="5">
                  <c:v>0.25602799999999998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1. kv. 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Boligkreditt</c:v>
                </c:pt>
                <c:pt idx="1">
                  <c:v>Næringskreditt</c:v>
                </c:pt>
                <c:pt idx="2">
                  <c:v>Lav risiko</c:v>
                </c:pt>
                <c:pt idx="3">
                  <c:v>Middels risiko</c:v>
                </c:pt>
                <c:pt idx="4">
                  <c:v>Høy risiko</c:v>
                </c:pt>
                <c:pt idx="5">
                  <c:v>Misligholdte og
 nedskrevne</c:v>
                </c:pt>
              </c:strCache>
            </c:strRef>
          </c:cat>
          <c:val>
            <c:numRef>
              <c:f>'Ark1'!$C$2:$C$7</c:f>
              <c:numCache>
                <c:formatCode>General</c:formatCode>
                <c:ptCount val="6"/>
                <c:pt idx="0">
                  <c:v>0.15934699999999999</c:v>
                </c:pt>
                <c:pt idx="1">
                  <c:v>0.55558399999999997</c:v>
                </c:pt>
                <c:pt idx="2">
                  <c:v>3.4606659999999998</c:v>
                </c:pt>
                <c:pt idx="3">
                  <c:v>3.0455169999999998</c:v>
                </c:pt>
                <c:pt idx="4">
                  <c:v>1.4759150000000001</c:v>
                </c:pt>
                <c:pt idx="5">
                  <c:v>0.23606099999999999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2. kv. 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Boligkreditt</c:v>
                </c:pt>
                <c:pt idx="1">
                  <c:v>Næringskreditt</c:v>
                </c:pt>
                <c:pt idx="2">
                  <c:v>Lav risiko</c:v>
                </c:pt>
                <c:pt idx="3">
                  <c:v>Middels risiko</c:v>
                </c:pt>
                <c:pt idx="4">
                  <c:v>Høy risiko</c:v>
                </c:pt>
                <c:pt idx="5">
                  <c:v>Misligholdte og
 nedskrevne</c:v>
                </c:pt>
              </c:strCache>
            </c:strRef>
          </c:cat>
          <c:val>
            <c:numRef>
              <c:f>'Ark1'!$D$2:$D$7</c:f>
              <c:numCache>
                <c:formatCode>General</c:formatCode>
                <c:ptCount val="6"/>
                <c:pt idx="0">
                  <c:v>0.185645</c:v>
                </c:pt>
                <c:pt idx="1">
                  <c:v>0.55150100000000002</c:v>
                </c:pt>
                <c:pt idx="2">
                  <c:v>3.6887729999999999</c:v>
                </c:pt>
                <c:pt idx="3">
                  <c:v>2.9650560000000001</c:v>
                </c:pt>
                <c:pt idx="4">
                  <c:v>1.5301880000000001</c:v>
                </c:pt>
                <c:pt idx="5">
                  <c:v>0.231042</c:v>
                </c:pt>
              </c:numCache>
            </c:numRef>
          </c:val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3. kv. 19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rk1'!$A$2:$A$7</c:f>
              <c:strCache>
                <c:ptCount val="6"/>
                <c:pt idx="0">
                  <c:v>Boligkreditt</c:v>
                </c:pt>
                <c:pt idx="1">
                  <c:v>Næringskreditt</c:v>
                </c:pt>
                <c:pt idx="2">
                  <c:v>Lav risiko</c:v>
                </c:pt>
                <c:pt idx="3">
                  <c:v>Middels risiko</c:v>
                </c:pt>
                <c:pt idx="4">
                  <c:v>Høy risiko</c:v>
                </c:pt>
                <c:pt idx="5">
                  <c:v>Misligholdte og
 nedskrevne</c:v>
                </c:pt>
              </c:strCache>
            </c:strRef>
          </c:cat>
          <c:val>
            <c:numRef>
              <c:f>'Ark1'!$E$2:$E$7</c:f>
              <c:numCache>
                <c:formatCode>General</c:formatCode>
                <c:ptCount val="6"/>
                <c:pt idx="0">
                  <c:v>0.22243099999999999</c:v>
                </c:pt>
                <c:pt idx="1">
                  <c:v>0.549431</c:v>
                </c:pt>
                <c:pt idx="2">
                  <c:v>4.0011159999999997</c:v>
                </c:pt>
                <c:pt idx="3">
                  <c:v>2.9102600000000001</c:v>
                </c:pt>
                <c:pt idx="4">
                  <c:v>1.206404</c:v>
                </c:pt>
                <c:pt idx="5">
                  <c:v>0.214520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0208776"/>
        <c:axId val="830212304"/>
      </c:barChart>
      <c:catAx>
        <c:axId val="830208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12304"/>
        <c:crosses val="autoZero"/>
        <c:auto val="1"/>
        <c:lblAlgn val="ctr"/>
        <c:lblOffset val="100"/>
        <c:noMultiLvlLbl val="0"/>
      </c:catAx>
      <c:valAx>
        <c:axId val="830212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err="1" smtClean="0"/>
                  <a:t>Mrd</a:t>
                </a:r>
                <a:r>
                  <a:rPr lang="nb-NO" dirty="0" smtClean="0"/>
                  <a:t> kr</a:t>
                </a:r>
                <a:endParaRPr lang="nb-NO" dirty="0"/>
              </a:p>
            </c:rich>
          </c:tx>
          <c:layout>
            <c:manualLayout>
              <c:xMode val="edge"/>
              <c:yMode val="edge"/>
              <c:x val="3.8328657958523627E-3"/>
              <c:y val="0.4100884974929773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08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299357599093722"/>
          <c:y val="0.91631777494099653"/>
          <c:w val="0.57726037747840475"/>
          <c:h val="5.86669483850403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dirty="0" smtClean="0"/>
              <a:t>PM</a:t>
            </a:r>
            <a:endParaRPr lang="nb-NO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12049962131543851"/>
          <c:y val="0.10215250944341904"/>
          <c:w val="0.85662868251498936"/>
          <c:h val="0.696355018276822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4. kv. 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rk1'!$A$2:$A$6</c:f>
              <c:strCache>
                <c:ptCount val="5"/>
                <c:pt idx="0">
                  <c:v>Boligkreditt</c:v>
                </c:pt>
                <c:pt idx="1">
                  <c:v>Lav risiko</c:v>
                </c:pt>
                <c:pt idx="2">
                  <c:v>Middels risiko</c:v>
                </c:pt>
                <c:pt idx="3">
                  <c:v>Høy risiko</c:v>
                </c:pt>
                <c:pt idx="4">
                  <c:v>Misligholdte og
 nedskrevne</c:v>
                </c:pt>
              </c:strCache>
            </c:strRef>
          </c:cat>
          <c:val>
            <c:numRef>
              <c:f>'Ark1'!$B$2:$B$6</c:f>
              <c:numCache>
                <c:formatCode>General</c:formatCode>
                <c:ptCount val="5"/>
                <c:pt idx="0">
                  <c:v>12.324206999999999</c:v>
                </c:pt>
                <c:pt idx="1">
                  <c:v>19.164473999999998</c:v>
                </c:pt>
                <c:pt idx="2">
                  <c:v>3.8694259999999998</c:v>
                </c:pt>
                <c:pt idx="3">
                  <c:v>0.57621999999999995</c:v>
                </c:pt>
                <c:pt idx="4">
                  <c:v>5.9304000000000003E-2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1. kv. 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rk1'!$A$2:$A$6</c:f>
              <c:strCache>
                <c:ptCount val="5"/>
                <c:pt idx="0">
                  <c:v>Boligkreditt</c:v>
                </c:pt>
                <c:pt idx="1">
                  <c:v>Lav risiko</c:v>
                </c:pt>
                <c:pt idx="2">
                  <c:v>Middels risiko</c:v>
                </c:pt>
                <c:pt idx="3">
                  <c:v>Høy risiko</c:v>
                </c:pt>
                <c:pt idx="4">
                  <c:v>Misligholdte og
 nedskrevne</c:v>
                </c:pt>
              </c:strCache>
            </c:strRef>
          </c:cat>
          <c:val>
            <c:numRef>
              <c:f>'Ark1'!$C$2:$C$6</c:f>
              <c:numCache>
                <c:formatCode>General</c:formatCode>
                <c:ptCount val="5"/>
                <c:pt idx="0">
                  <c:v>12.632203000000001</c:v>
                </c:pt>
                <c:pt idx="1">
                  <c:v>19.071994</c:v>
                </c:pt>
                <c:pt idx="2">
                  <c:v>3.9544839999999999</c:v>
                </c:pt>
                <c:pt idx="3">
                  <c:v>0.54876899999999995</c:v>
                </c:pt>
                <c:pt idx="4">
                  <c:v>6.5951999999999997E-2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2. kv. 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rk1'!$A$2:$A$6</c:f>
              <c:strCache>
                <c:ptCount val="5"/>
                <c:pt idx="0">
                  <c:v>Boligkreditt</c:v>
                </c:pt>
                <c:pt idx="1">
                  <c:v>Lav risiko</c:v>
                </c:pt>
                <c:pt idx="2">
                  <c:v>Middels risiko</c:v>
                </c:pt>
                <c:pt idx="3">
                  <c:v>Høy risiko</c:v>
                </c:pt>
                <c:pt idx="4">
                  <c:v>Misligholdte og
 nedskrevne</c:v>
                </c:pt>
              </c:strCache>
            </c:strRef>
          </c:cat>
          <c:val>
            <c:numRef>
              <c:f>'Ark1'!$D$2:$D$6</c:f>
              <c:numCache>
                <c:formatCode>General</c:formatCode>
                <c:ptCount val="5"/>
                <c:pt idx="0">
                  <c:v>12.567194000000001</c:v>
                </c:pt>
                <c:pt idx="1">
                  <c:v>19.938625999999999</c:v>
                </c:pt>
                <c:pt idx="2">
                  <c:v>3.8474539999999999</c:v>
                </c:pt>
                <c:pt idx="3">
                  <c:v>0.57485200000000003</c:v>
                </c:pt>
                <c:pt idx="4">
                  <c:v>6.3208E-2</c:v>
                </c:pt>
              </c:numCache>
            </c:numRef>
          </c:val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3. kv. 19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rk1'!$A$2:$A$6</c:f>
              <c:strCache>
                <c:ptCount val="5"/>
                <c:pt idx="0">
                  <c:v>Boligkreditt</c:v>
                </c:pt>
                <c:pt idx="1">
                  <c:v>Lav risiko</c:v>
                </c:pt>
                <c:pt idx="2">
                  <c:v>Middels risiko</c:v>
                </c:pt>
                <c:pt idx="3">
                  <c:v>Høy risiko</c:v>
                </c:pt>
                <c:pt idx="4">
                  <c:v>Misligholdte og
 nedskrevne</c:v>
                </c:pt>
              </c:strCache>
            </c:strRef>
          </c:cat>
          <c:val>
            <c:numRef>
              <c:f>'Ark1'!$E$2:$E$6</c:f>
              <c:numCache>
                <c:formatCode>General</c:formatCode>
                <c:ptCount val="5"/>
                <c:pt idx="0">
                  <c:v>12.609081</c:v>
                </c:pt>
                <c:pt idx="1">
                  <c:v>20.095054999999999</c:v>
                </c:pt>
                <c:pt idx="2">
                  <c:v>3.8731529999999998</c:v>
                </c:pt>
                <c:pt idx="3">
                  <c:v>0.58023000000000002</c:v>
                </c:pt>
                <c:pt idx="4">
                  <c:v>7.637199999999999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0215440"/>
        <c:axId val="830209168"/>
      </c:barChart>
      <c:catAx>
        <c:axId val="83021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09168"/>
        <c:crosses val="autoZero"/>
        <c:auto val="1"/>
        <c:lblAlgn val="ctr"/>
        <c:lblOffset val="100"/>
        <c:noMultiLvlLbl val="0"/>
      </c:catAx>
      <c:valAx>
        <c:axId val="830209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err="1" smtClean="0"/>
                  <a:t>Mrd</a:t>
                </a:r>
                <a:r>
                  <a:rPr lang="nb-NO" dirty="0" smtClean="0"/>
                  <a:t> kr</a:t>
                </a:r>
                <a:endParaRPr lang="nb-NO" dirty="0"/>
              </a:p>
            </c:rich>
          </c:tx>
          <c:layout>
            <c:manualLayout>
              <c:xMode val="edge"/>
              <c:yMode val="edge"/>
              <c:x val="3.8328657958523627E-3"/>
              <c:y val="0.3900205780824911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1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299357599093722"/>
          <c:y val="0.91631777494099653"/>
          <c:w val="0.57726037747840475"/>
          <c:h val="5.86669483850403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 smtClean="0">
                <a:effectLst/>
              </a:rPr>
              <a:t>PM-</a:t>
            </a:r>
            <a:r>
              <a:rPr lang="en-US" sz="1800" b="0" i="0" baseline="0" dirty="0" err="1" smtClean="0">
                <a:effectLst/>
              </a:rPr>
              <a:t>porteføljen</a:t>
            </a:r>
            <a:r>
              <a:rPr lang="en-US" sz="1800" b="0" i="0" baseline="0" dirty="0" smtClean="0">
                <a:effectLst/>
              </a:rPr>
              <a:t> </a:t>
            </a:r>
            <a:r>
              <a:rPr lang="en-US" sz="1800" b="0" i="0" baseline="0" dirty="0" err="1" smtClean="0">
                <a:effectLst/>
              </a:rPr>
              <a:t>fordelt</a:t>
            </a:r>
            <a:r>
              <a:rPr lang="en-US" sz="1800" b="0" i="0" baseline="0" dirty="0" smtClean="0">
                <a:effectLst/>
              </a:rPr>
              <a:t> </a:t>
            </a:r>
            <a:r>
              <a:rPr lang="en-US" sz="1800" b="0" i="0" baseline="0" dirty="0" err="1" smtClean="0">
                <a:effectLst/>
              </a:rPr>
              <a:t>på</a:t>
            </a:r>
            <a:r>
              <a:rPr lang="en-US" sz="1800" b="0" i="0" baseline="0" dirty="0" smtClean="0">
                <a:effectLst/>
              </a:rPr>
              <a:t> </a:t>
            </a:r>
            <a:r>
              <a:rPr lang="en-US" sz="1800" b="0" i="0" baseline="0" dirty="0" err="1" smtClean="0">
                <a:effectLst/>
              </a:rPr>
              <a:t>misligholdsklasser</a:t>
            </a:r>
            <a:endParaRPr lang="nb-NO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D 0,0 - 0,5 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 19</c:v>
                </c:pt>
                <c:pt idx="4">
                  <c:v>3. kv 19</c:v>
                </c:pt>
              </c:strCache>
            </c:strRef>
          </c:cat>
          <c:val>
            <c:numRef>
              <c:f>'Ark1'!$B$2:$B$6</c:f>
              <c:numCache>
                <c:formatCode>0%</c:formatCode>
                <c:ptCount val="5"/>
                <c:pt idx="0">
                  <c:v>0.81</c:v>
                </c:pt>
                <c:pt idx="1">
                  <c:v>0.8</c:v>
                </c:pt>
                <c:pt idx="2">
                  <c:v>0.8</c:v>
                </c:pt>
                <c:pt idx="3">
                  <c:v>0.81</c:v>
                </c:pt>
                <c:pt idx="4">
                  <c:v>0.81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PD 0,5 - 2,5 %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 19</c:v>
                </c:pt>
                <c:pt idx="4">
                  <c:v>3. kv 19</c:v>
                </c:pt>
              </c:strCache>
            </c:strRef>
          </c:cat>
          <c:val>
            <c:numRef>
              <c:f>'Ark1'!$C$2:$C$6</c:f>
              <c:numCache>
                <c:formatCode>0%</c:formatCode>
                <c:ptCount val="5"/>
                <c:pt idx="0">
                  <c:v>0.16</c:v>
                </c:pt>
                <c:pt idx="1">
                  <c:v>0.17</c:v>
                </c:pt>
                <c:pt idx="2">
                  <c:v>0.17</c:v>
                </c:pt>
                <c:pt idx="3">
                  <c:v>0.16</c:v>
                </c:pt>
                <c:pt idx="4">
                  <c:v>0.16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PD &gt; 2,5 %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 19</c:v>
                </c:pt>
                <c:pt idx="4">
                  <c:v>3. kv 19</c:v>
                </c:pt>
              </c:strCache>
            </c:strRef>
          </c:cat>
          <c:val>
            <c:numRef>
              <c:f>'Ark1'!$D$2:$D$6</c:f>
              <c:numCache>
                <c:formatCode>0%</c:formatCode>
                <c:ptCount val="5"/>
                <c:pt idx="0">
                  <c:v>0.03</c:v>
                </c:pt>
                <c:pt idx="1">
                  <c:v>0.03</c:v>
                </c:pt>
                <c:pt idx="2">
                  <c:v>0.03</c:v>
                </c:pt>
                <c:pt idx="3">
                  <c:v>0.03</c:v>
                </c:pt>
                <c:pt idx="4">
                  <c:v>0.0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30215832"/>
        <c:axId val="830209952"/>
      </c:barChart>
      <c:catAx>
        <c:axId val="830215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09952"/>
        <c:crosses val="autoZero"/>
        <c:auto val="1"/>
        <c:lblAlgn val="ctr"/>
        <c:lblOffset val="100"/>
        <c:noMultiLvlLbl val="0"/>
      </c:catAx>
      <c:valAx>
        <c:axId val="830209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15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 smtClean="0">
                <a:effectLst/>
              </a:rPr>
              <a:t>BM-</a:t>
            </a:r>
            <a:r>
              <a:rPr lang="en-US" sz="1800" b="0" i="0" baseline="0" dirty="0" err="1" smtClean="0">
                <a:effectLst/>
              </a:rPr>
              <a:t>porteføljen</a:t>
            </a:r>
            <a:r>
              <a:rPr lang="en-US" sz="1800" b="0" i="0" baseline="0" dirty="0" smtClean="0">
                <a:effectLst/>
              </a:rPr>
              <a:t> </a:t>
            </a:r>
            <a:r>
              <a:rPr lang="en-US" sz="1800" b="0" i="0" baseline="0" dirty="0" err="1" smtClean="0">
                <a:effectLst/>
              </a:rPr>
              <a:t>fordelt</a:t>
            </a:r>
            <a:r>
              <a:rPr lang="en-US" sz="1800" b="0" i="0" baseline="0" dirty="0" smtClean="0">
                <a:effectLst/>
              </a:rPr>
              <a:t> </a:t>
            </a:r>
            <a:r>
              <a:rPr lang="en-US" sz="1800" b="0" i="0" baseline="0" dirty="0" err="1" smtClean="0">
                <a:effectLst/>
              </a:rPr>
              <a:t>på</a:t>
            </a:r>
            <a:r>
              <a:rPr lang="en-US" sz="1800" b="0" i="0" baseline="0" dirty="0" smtClean="0">
                <a:effectLst/>
              </a:rPr>
              <a:t> </a:t>
            </a:r>
            <a:r>
              <a:rPr lang="en-US" sz="1800" b="0" i="0" baseline="0" dirty="0" err="1" smtClean="0">
                <a:effectLst/>
              </a:rPr>
              <a:t>misligholdsklasser</a:t>
            </a:r>
            <a:endParaRPr lang="nb-NO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D 0,0 - 0,5 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B$2:$B$6</c:f>
              <c:numCache>
                <c:formatCode>0%</c:formatCode>
                <c:ptCount val="5"/>
                <c:pt idx="0">
                  <c:v>0.36</c:v>
                </c:pt>
                <c:pt idx="1">
                  <c:v>0.36</c:v>
                </c:pt>
                <c:pt idx="2">
                  <c:v>0.39</c:v>
                </c:pt>
                <c:pt idx="3">
                  <c:v>0.39</c:v>
                </c:pt>
                <c:pt idx="4">
                  <c:v>0.42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PD 0,5 - 2,5 %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C$2:$C$6</c:f>
              <c:numCache>
                <c:formatCode>0%</c:formatCode>
                <c:ptCount val="5"/>
                <c:pt idx="0">
                  <c:v>0.45</c:v>
                </c:pt>
                <c:pt idx="1">
                  <c:v>0.44</c:v>
                </c:pt>
                <c:pt idx="2">
                  <c:v>0.39</c:v>
                </c:pt>
                <c:pt idx="3">
                  <c:v>0.36</c:v>
                </c:pt>
                <c:pt idx="4">
                  <c:v>0.4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PD &gt; 2,5 %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D$2:$D$6</c:f>
              <c:numCache>
                <c:formatCode>0%</c:formatCode>
                <c:ptCount val="5"/>
                <c:pt idx="0">
                  <c:v>0.19</c:v>
                </c:pt>
                <c:pt idx="1">
                  <c:v>0.21</c:v>
                </c:pt>
                <c:pt idx="2">
                  <c:v>0.22</c:v>
                </c:pt>
                <c:pt idx="3">
                  <c:v>0.24</c:v>
                </c:pt>
                <c:pt idx="4">
                  <c:v>0.17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30216224"/>
        <c:axId val="830217400"/>
      </c:barChart>
      <c:catAx>
        <c:axId val="830216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17400"/>
        <c:crosses val="autoZero"/>
        <c:auto val="1"/>
        <c:lblAlgn val="ctr"/>
        <c:lblOffset val="100"/>
        <c:noMultiLvlLbl val="0"/>
      </c:catAx>
      <c:valAx>
        <c:axId val="830217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16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915228937316971E-2"/>
          <c:y val="7.6747366853067614E-2"/>
          <c:w val="0.91015503682693755"/>
          <c:h val="0.826585496539554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Egen balan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Inntil 60 %</c:v>
                </c:pt>
                <c:pt idx="1">
                  <c:v>60 - 70 %</c:v>
                </c:pt>
                <c:pt idx="2">
                  <c:v>70 - 80 %</c:v>
                </c:pt>
                <c:pt idx="3">
                  <c:v>80 - 90 %</c:v>
                </c:pt>
                <c:pt idx="4">
                  <c:v>90 - 100 %</c:v>
                </c:pt>
                <c:pt idx="5">
                  <c:v>Over 100 %</c:v>
                </c:pt>
              </c:strCache>
            </c:strRef>
          </c:cat>
          <c:val>
            <c:numRef>
              <c:f>'Ark1'!$B$2:$B$7</c:f>
              <c:numCache>
                <c:formatCode>#,##0.0</c:formatCode>
                <c:ptCount val="6"/>
                <c:pt idx="0">
                  <c:v>19.900054859009995</c:v>
                </c:pt>
                <c:pt idx="1">
                  <c:v>2.1044554208633346</c:v>
                </c:pt>
                <c:pt idx="2">
                  <c:v>1.4205774513633338</c:v>
                </c:pt>
                <c:pt idx="3">
                  <c:v>0.51993393066333293</c:v>
                </c:pt>
                <c:pt idx="4">
                  <c:v>0.17200980952666664</c:v>
                </c:pt>
                <c:pt idx="5">
                  <c:v>0.25170579668333309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SB1 Boligkredit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Inntil 60 %</c:v>
                </c:pt>
                <c:pt idx="1">
                  <c:v>60 - 70 %</c:v>
                </c:pt>
                <c:pt idx="2">
                  <c:v>70 - 80 %</c:v>
                </c:pt>
                <c:pt idx="3">
                  <c:v>80 - 90 %</c:v>
                </c:pt>
                <c:pt idx="4">
                  <c:v>90 - 100 %</c:v>
                </c:pt>
                <c:pt idx="5">
                  <c:v>Over 100 %</c:v>
                </c:pt>
              </c:strCache>
            </c:strRef>
          </c:cat>
          <c:val>
            <c:numRef>
              <c:f>'Ark1'!$C$2:$C$7</c:f>
              <c:numCache>
                <c:formatCode>#,##0.0</c:formatCode>
                <c:ptCount val="6"/>
                <c:pt idx="0">
                  <c:v>12.264030693640002</c:v>
                </c:pt>
                <c:pt idx="1">
                  <c:v>0.27931456241999986</c:v>
                </c:pt>
                <c:pt idx="2">
                  <c:v>3.8798648439999986E-2</c:v>
                </c:pt>
                <c:pt idx="3">
                  <c:v>1.2245082159999997E-2</c:v>
                </c:pt>
                <c:pt idx="4">
                  <c:v>4.7284460933333331E-3</c:v>
                </c:pt>
                <c:pt idx="5">
                  <c:v>7.3297902166666639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0223672"/>
        <c:axId val="830222888"/>
      </c:barChart>
      <c:catAx>
        <c:axId val="830223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0222888"/>
        <c:crosses val="autoZero"/>
        <c:auto val="1"/>
        <c:lblAlgn val="ctr"/>
        <c:lblOffset val="100"/>
        <c:noMultiLvlLbl val="0"/>
      </c:catAx>
      <c:valAx>
        <c:axId val="83022288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err="1" smtClean="0"/>
                  <a:t>Mrd</a:t>
                </a:r>
                <a:r>
                  <a:rPr lang="nb-NO" dirty="0" smtClean="0"/>
                  <a:t> kr</a:t>
                </a:r>
                <a:endParaRPr lang="nb-NO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#,##0.0" sourceLinked="1"/>
        <c:majorTickMark val="none"/>
        <c:minorTickMark val="none"/>
        <c:tickLblPos val="nextTo"/>
        <c:crossAx val="830223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436265739321974"/>
          <c:y val="1.1151952304540724E-2"/>
          <c:w val="0.35293710341732515"/>
          <c:h val="5.1824822321532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96665846456689"/>
          <c:y val="7.9687495097964134E-2"/>
          <c:w val="0.59094180610236224"/>
          <c:h val="0.8864126546252058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2"/>
              <c:layout>
                <c:manualLayout>
                  <c:x val="0.05"/>
                  <c:y val="9.374999423289880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5624999999999929E-3"/>
                  <c:y val="9.3750916969062691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160900590551181"/>
                      <c:h val="7.6253071096636857E-2"/>
                    </c:manualLayout>
                  </c15:layout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baseline="0" smtClean="0"/>
                      <a:t>Egenkapital</a:t>
                    </a:r>
                    <a:r>
                      <a:rPr lang="en-US" baseline="0" dirty="0"/>
                      <a:t>
</a:t>
                    </a:r>
                    <a:fld id="{C8118078-6E92-4863-917F-9866CEE774CD}" type="PERCENTAGE">
                      <a:rPr lang="en-US" baseline="0"/>
                      <a:pPr/>
                      <a:t>[PROSENT]</a:t>
                    </a:fld>
                    <a:endParaRPr lang="en-US" baseline="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5"/>
              <c:layout>
                <c:manualLayout>
                  <c:x val="2.9687499999999995E-2"/>
                  <c:y val="-1.640624899075733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4169906496063"/>
                      <c:h val="0.11082965607593159"/>
                    </c:manualLayout>
                  </c15:layout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'Ark1'!$A$2:$A$7</c:f>
              <c:strCache>
                <c:ptCount val="6"/>
                <c:pt idx="0">
                  <c:v>Senior obl.gjeld</c:v>
                </c:pt>
                <c:pt idx="1">
                  <c:v>Innskudd</c:v>
                </c:pt>
                <c:pt idx="2">
                  <c:v>Ans.lån og fondsobl</c:v>
                </c:pt>
                <c:pt idx="3">
                  <c:v>Øvrige</c:v>
                </c:pt>
                <c:pt idx="4">
                  <c:v>EK</c:v>
                </c:pt>
                <c:pt idx="5">
                  <c:v>Boligkreditt/Næringskreditt</c:v>
                </c:pt>
              </c:strCache>
            </c:strRef>
          </c:cat>
          <c:val>
            <c:numRef>
              <c:f>'Ark1'!$B$2:$B$7</c:f>
              <c:numCache>
                <c:formatCode>0%</c:formatCode>
                <c:ptCount val="6"/>
                <c:pt idx="0">
                  <c:v>0.1594358171565968</c:v>
                </c:pt>
                <c:pt idx="1">
                  <c:v>0.48</c:v>
                </c:pt>
                <c:pt idx="2">
                  <c:v>0.02</c:v>
                </c:pt>
                <c:pt idx="3">
                  <c:v>0.01</c:v>
                </c:pt>
                <c:pt idx="4">
                  <c:v>0.09</c:v>
                </c:pt>
                <c:pt idx="5">
                  <c:v>0.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96665846456689"/>
          <c:y val="0.1101562432236563"/>
          <c:w val="0.57062930610236218"/>
          <c:h val="0.85594390649951357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1"/>
              <c:layout>
                <c:manualLayout>
                  <c:x val="-3.7499999999999999E-2"/>
                  <c:y val="-1.640634126437386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42138287401576"/>
                      <c:h val="7.6253071096636857E-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2.8125000000000015E-2"/>
                  <c:y val="9.3749994232898981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3.3593749999999964E-2"/>
                  <c:y val="-2.5781248414047227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 smtClean="0"/>
                      <a:t>Kraft </a:t>
                    </a:r>
                    <a:r>
                      <a:rPr lang="en-US" baseline="0" dirty="0" err="1" smtClean="0"/>
                      <a:t>m.m.</a:t>
                    </a:r>
                    <a:r>
                      <a:rPr lang="en-US" baseline="0" dirty="0"/>
                      <a:t>
</a:t>
                    </a:r>
                    <a:fld id="{9D32CED4-9C8D-4B44-AF73-B715D692EEC6}" type="PERCENTAGE">
                      <a:rPr lang="en-US" baseline="0"/>
                      <a:pPr/>
                      <a:t>[PROSENT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242925688976376"/>
                      <c:h val="7.6253071096636857E-2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8.5156250000000003E-2"/>
                  <c:y val="9.2273616370963565E-8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690083661417326"/>
                      <c:h val="7.6253071096636857E-2"/>
                    </c:manualLayout>
                  </c15:layout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'Ark1'!$A$2:$A$6</c:f>
              <c:strCache>
                <c:ptCount val="5"/>
                <c:pt idx="0">
                  <c:v>Stat/statsgarantert</c:v>
                </c:pt>
                <c:pt idx="1">
                  <c:v>OMF</c:v>
                </c:pt>
                <c:pt idx="2">
                  <c:v>Fylke/kommune</c:v>
                </c:pt>
                <c:pt idx="3">
                  <c:v>Kraft/Bom</c:v>
                </c:pt>
                <c:pt idx="4">
                  <c:v>Øvrig</c:v>
                </c:pt>
              </c:strCache>
            </c:strRef>
          </c:cat>
          <c:val>
            <c:numRef>
              <c:f>'Ark1'!$B$2:$B$6</c:f>
              <c:numCache>
                <c:formatCode>0%</c:formatCode>
                <c:ptCount val="5"/>
                <c:pt idx="0">
                  <c:v>0.23</c:v>
                </c:pt>
                <c:pt idx="1">
                  <c:v>0.64</c:v>
                </c:pt>
                <c:pt idx="2">
                  <c:v>0.08</c:v>
                </c:pt>
                <c:pt idx="3">
                  <c:v>0.01</c:v>
                </c:pt>
                <c:pt idx="4">
                  <c:v>0.04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30391242923706E-2"/>
          <c:y val="9.754637440822557E-2"/>
          <c:w val="0.8968025164580905"/>
          <c:h val="0.789245552393342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Omsetning 30.09.18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RH1</c:v>
                </c:pt>
                <c:pt idx="1">
                  <c:v>EM1</c:v>
                </c:pt>
                <c:pt idx="2">
                  <c:v>Z Eiendom</c:v>
                </c:pt>
              </c:strCache>
            </c:strRef>
          </c:cat>
          <c:val>
            <c:numRef>
              <c:f>'Ark1'!$B$2:$B$4</c:f>
              <c:numCache>
                <c:formatCode>_ * #,##0.0_ ;_ * \-#,##0.0_ ;_ * "-"??_ ;_ @_ </c:formatCode>
                <c:ptCount val="3"/>
                <c:pt idx="0">
                  <c:v>28</c:v>
                </c:pt>
                <c:pt idx="1">
                  <c:v>61.8</c:v>
                </c:pt>
                <c:pt idx="2">
                  <c:v>23.6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Omsetning 30.09.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RH1</c:v>
                </c:pt>
                <c:pt idx="1">
                  <c:v>EM1</c:v>
                </c:pt>
                <c:pt idx="2">
                  <c:v>Z Eiendom</c:v>
                </c:pt>
              </c:strCache>
            </c:strRef>
          </c:cat>
          <c:val>
            <c:numRef>
              <c:f>'Ark1'!$C$2:$C$4</c:f>
              <c:numCache>
                <c:formatCode>_ * #,##0.0_ ;_ * \-#,##0.0_ ;_ * "-"??_ ;_ @_ </c:formatCode>
                <c:ptCount val="3"/>
                <c:pt idx="0">
                  <c:v>29.6</c:v>
                </c:pt>
                <c:pt idx="1">
                  <c:v>60.4</c:v>
                </c:pt>
                <c:pt idx="2">
                  <c:v>24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40076248"/>
        <c:axId val="840074680"/>
      </c:barChart>
      <c:catAx>
        <c:axId val="840076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40074680"/>
        <c:crosses val="autoZero"/>
        <c:auto val="1"/>
        <c:lblAlgn val="ctr"/>
        <c:lblOffset val="100"/>
        <c:noMultiLvlLbl val="0"/>
      </c:catAx>
      <c:valAx>
        <c:axId val="8400746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.0_ ;_ * \-#,##0.0_ ;_ * &quot;-&quot;??_ ;_ @_ " sourceLinked="1"/>
        <c:majorTickMark val="none"/>
        <c:minorTickMark val="none"/>
        <c:tickLblPos val="nextTo"/>
        <c:crossAx val="840076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249318275762618"/>
          <c:y val="2.0288149463437672E-2"/>
          <c:w val="0.65184498508831257"/>
          <c:h val="5.94320334128406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795504941003999E-2"/>
          <c:y val="9.7546326632936137E-2"/>
          <c:w val="0.8968025164580905"/>
          <c:h val="0.789245552393342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Driftsmargin 30.09.18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RH1</c:v>
                </c:pt>
                <c:pt idx="1">
                  <c:v>EM1</c:v>
                </c:pt>
                <c:pt idx="2">
                  <c:v>Z Eiendom</c:v>
                </c:pt>
              </c:strCache>
            </c:strRef>
          </c:cat>
          <c:val>
            <c:numRef>
              <c:f>'Ark1'!$B$2:$B$4</c:f>
              <c:numCache>
                <c:formatCode>0.0\ %</c:formatCode>
                <c:ptCount val="3"/>
                <c:pt idx="0">
                  <c:v>0.121</c:v>
                </c:pt>
                <c:pt idx="1">
                  <c:v>0.129</c:v>
                </c:pt>
                <c:pt idx="2">
                  <c:v>0.16400000000000001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Driftsmargin 30.09.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RH1</c:v>
                </c:pt>
                <c:pt idx="1">
                  <c:v>EM1</c:v>
                </c:pt>
                <c:pt idx="2">
                  <c:v>Z Eiendom</c:v>
                </c:pt>
              </c:strCache>
            </c:strRef>
          </c:cat>
          <c:val>
            <c:numRef>
              <c:f>'Ark1'!$C$2:$C$4</c:f>
              <c:numCache>
                <c:formatCode>0.0\ %</c:formatCode>
                <c:ptCount val="3"/>
                <c:pt idx="0">
                  <c:v>0.14499999999999999</c:v>
                </c:pt>
                <c:pt idx="1">
                  <c:v>0.109</c:v>
                </c:pt>
                <c:pt idx="2">
                  <c:v>0.1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40070760"/>
        <c:axId val="840078208"/>
      </c:barChart>
      <c:catAx>
        <c:axId val="840070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40078208"/>
        <c:crosses val="autoZero"/>
        <c:auto val="0"/>
        <c:lblAlgn val="ctr"/>
        <c:lblOffset val="100"/>
        <c:noMultiLvlLbl val="0"/>
      </c:catAx>
      <c:valAx>
        <c:axId val="84007820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\ %" sourceLinked="1"/>
        <c:majorTickMark val="none"/>
        <c:minorTickMark val="none"/>
        <c:tickLblPos val="nextTo"/>
        <c:crossAx val="840070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249318275762618"/>
          <c:y val="2.0288149463437672E-2"/>
          <c:w val="0.65184498508831257"/>
          <c:h val="5.94320334128406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/>
              <a:t>Netto  innflytting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lineChart>
        <c:grouping val="standard"/>
        <c:varyColors val="0"/>
        <c:ser>
          <c:idx val="2"/>
          <c:order val="2"/>
          <c:tx>
            <c:strRef>
              <c:f>'[Netto (1).xlsx]Netto'!$A$7</c:f>
              <c:strCache>
                <c:ptCount val="1"/>
                <c:pt idx="0">
                  <c:v>03 Oslo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multiLvlStrRef>
              <c:f>'[Netto (1).xlsx]Netto'!$B$3:$Z$4</c:f>
              <c:multiLvlStrCache>
                <c:ptCount val="25"/>
                <c:lvl>
                  <c:pt idx="0">
                    <c:v>1994</c:v>
                  </c:pt>
                  <c:pt idx="1">
                    <c:v>1995</c:v>
                  </c:pt>
                  <c:pt idx="2">
                    <c:v>1996</c:v>
                  </c:pt>
                  <c:pt idx="3">
                    <c:v>1997</c:v>
                  </c:pt>
                  <c:pt idx="4">
                    <c:v>1998</c:v>
                  </c:pt>
                  <c:pt idx="5">
                    <c:v>1999</c:v>
                  </c:pt>
                  <c:pt idx="6">
                    <c:v>2000</c:v>
                  </c:pt>
                  <c:pt idx="7">
                    <c:v>2001</c:v>
                  </c:pt>
                  <c:pt idx="8">
                    <c:v>2002</c:v>
                  </c:pt>
                  <c:pt idx="9">
                    <c:v>2003</c:v>
                  </c:pt>
                  <c:pt idx="10">
                    <c:v>2004</c:v>
                  </c:pt>
                  <c:pt idx="11">
                    <c:v>2005</c:v>
                  </c:pt>
                  <c:pt idx="12">
                    <c:v>2006</c:v>
                  </c:pt>
                  <c:pt idx="13">
                    <c:v>2007</c:v>
                  </c:pt>
                  <c:pt idx="14">
                    <c:v>2008</c:v>
                  </c:pt>
                  <c:pt idx="15">
                    <c:v>2009</c:v>
                  </c:pt>
                  <c:pt idx="16">
                    <c:v>2010</c:v>
                  </c:pt>
                  <c:pt idx="17">
                    <c:v>2011</c:v>
                  </c:pt>
                  <c:pt idx="18">
                    <c:v>2012</c:v>
                  </c:pt>
                  <c:pt idx="19">
                    <c:v>2013</c:v>
                  </c:pt>
                  <c:pt idx="20">
                    <c:v>2014</c:v>
                  </c:pt>
                  <c:pt idx="21">
                    <c:v>2015</c:v>
                  </c:pt>
                  <c:pt idx="22">
                    <c:v>2016</c:v>
                  </c:pt>
                  <c:pt idx="23">
                    <c:v>2017</c:v>
                  </c:pt>
                  <c:pt idx="24">
                    <c:v>2018</c:v>
                  </c:pt>
                </c:lvl>
                <c:lvl>
                  <c:pt idx="0">
                    <c:v>Nettoinnflytting</c:v>
                  </c:pt>
                </c:lvl>
              </c:multiLvlStrCache>
            </c:multiLvlStrRef>
          </c:cat>
          <c:val>
            <c:numRef>
              <c:f>'[Netto (1).xlsx]Netto'!$B$7:$Z$7</c:f>
              <c:numCache>
                <c:formatCode>0</c:formatCode>
                <c:ptCount val="25"/>
                <c:pt idx="0">
                  <c:v>1708</c:v>
                </c:pt>
                <c:pt idx="1">
                  <c:v>2251</c:v>
                </c:pt>
                <c:pt idx="2">
                  <c:v>2311</c:v>
                </c:pt>
                <c:pt idx="3">
                  <c:v>395</c:v>
                </c:pt>
                <c:pt idx="4">
                  <c:v>-1248</c:v>
                </c:pt>
                <c:pt idx="5">
                  <c:v>-132</c:v>
                </c:pt>
                <c:pt idx="6">
                  <c:v>-1905</c:v>
                </c:pt>
                <c:pt idx="7">
                  <c:v>800</c:v>
                </c:pt>
                <c:pt idx="8">
                  <c:v>-1420</c:v>
                </c:pt>
                <c:pt idx="9">
                  <c:v>351</c:v>
                </c:pt>
                <c:pt idx="10">
                  <c:v>2274</c:v>
                </c:pt>
                <c:pt idx="11">
                  <c:v>1354</c:v>
                </c:pt>
                <c:pt idx="12">
                  <c:v>1840</c:v>
                </c:pt>
                <c:pt idx="13">
                  <c:v>151</c:v>
                </c:pt>
                <c:pt idx="14">
                  <c:v>-291</c:v>
                </c:pt>
                <c:pt idx="15">
                  <c:v>-620</c:v>
                </c:pt>
                <c:pt idx="16">
                  <c:v>-966</c:v>
                </c:pt>
                <c:pt idx="17">
                  <c:v>-417</c:v>
                </c:pt>
                <c:pt idx="18">
                  <c:v>-819</c:v>
                </c:pt>
                <c:pt idx="19">
                  <c:v>-1333</c:v>
                </c:pt>
                <c:pt idx="20">
                  <c:v>102</c:v>
                </c:pt>
                <c:pt idx="21">
                  <c:v>293</c:v>
                </c:pt>
                <c:pt idx="22">
                  <c:v>-841</c:v>
                </c:pt>
                <c:pt idx="23">
                  <c:v>-2376</c:v>
                </c:pt>
                <c:pt idx="24">
                  <c:v>-1360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[Netto (1).xlsx]Netto'!$A$10</c:f>
              <c:strCache>
                <c:ptCount val="1"/>
                <c:pt idx="0">
                  <c:v>06 Buskerud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multiLvlStrRef>
              <c:f>'[Netto (1).xlsx]Netto'!$B$3:$Z$4</c:f>
              <c:multiLvlStrCache>
                <c:ptCount val="25"/>
                <c:lvl>
                  <c:pt idx="0">
                    <c:v>1994</c:v>
                  </c:pt>
                  <c:pt idx="1">
                    <c:v>1995</c:v>
                  </c:pt>
                  <c:pt idx="2">
                    <c:v>1996</c:v>
                  </c:pt>
                  <c:pt idx="3">
                    <c:v>1997</c:v>
                  </c:pt>
                  <c:pt idx="4">
                    <c:v>1998</c:v>
                  </c:pt>
                  <c:pt idx="5">
                    <c:v>1999</c:v>
                  </c:pt>
                  <c:pt idx="6">
                    <c:v>2000</c:v>
                  </c:pt>
                  <c:pt idx="7">
                    <c:v>2001</c:v>
                  </c:pt>
                  <c:pt idx="8">
                    <c:v>2002</c:v>
                  </c:pt>
                  <c:pt idx="9">
                    <c:v>2003</c:v>
                  </c:pt>
                  <c:pt idx="10">
                    <c:v>2004</c:v>
                  </c:pt>
                  <c:pt idx="11">
                    <c:v>2005</c:v>
                  </c:pt>
                  <c:pt idx="12">
                    <c:v>2006</c:v>
                  </c:pt>
                  <c:pt idx="13">
                    <c:v>2007</c:v>
                  </c:pt>
                  <c:pt idx="14">
                    <c:v>2008</c:v>
                  </c:pt>
                  <c:pt idx="15">
                    <c:v>2009</c:v>
                  </c:pt>
                  <c:pt idx="16">
                    <c:v>2010</c:v>
                  </c:pt>
                  <c:pt idx="17">
                    <c:v>2011</c:v>
                  </c:pt>
                  <c:pt idx="18">
                    <c:v>2012</c:v>
                  </c:pt>
                  <c:pt idx="19">
                    <c:v>2013</c:v>
                  </c:pt>
                  <c:pt idx="20">
                    <c:v>2014</c:v>
                  </c:pt>
                  <c:pt idx="21">
                    <c:v>2015</c:v>
                  </c:pt>
                  <c:pt idx="22">
                    <c:v>2016</c:v>
                  </c:pt>
                  <c:pt idx="23">
                    <c:v>2017</c:v>
                  </c:pt>
                  <c:pt idx="24">
                    <c:v>2018</c:v>
                  </c:pt>
                </c:lvl>
                <c:lvl>
                  <c:pt idx="0">
                    <c:v>Nettoinnflytting</c:v>
                  </c:pt>
                </c:lvl>
              </c:multiLvlStrCache>
            </c:multiLvlStrRef>
          </c:cat>
          <c:val>
            <c:numRef>
              <c:f>'[Netto (1).xlsx]Netto'!$B$10:$Z$10</c:f>
              <c:numCache>
                <c:formatCode>0</c:formatCode>
                <c:ptCount val="25"/>
                <c:pt idx="0">
                  <c:v>383</c:v>
                </c:pt>
                <c:pt idx="1">
                  <c:v>466</c:v>
                </c:pt>
                <c:pt idx="2">
                  <c:v>884</c:v>
                </c:pt>
                <c:pt idx="3">
                  <c:v>1233</c:v>
                </c:pt>
                <c:pt idx="4">
                  <c:v>1113</c:v>
                </c:pt>
                <c:pt idx="5">
                  <c:v>795</c:v>
                </c:pt>
                <c:pt idx="6">
                  <c:v>1217</c:v>
                </c:pt>
                <c:pt idx="7">
                  <c:v>317</c:v>
                </c:pt>
                <c:pt idx="8">
                  <c:v>607</c:v>
                </c:pt>
                <c:pt idx="9">
                  <c:v>-109</c:v>
                </c:pt>
                <c:pt idx="10">
                  <c:v>-33</c:v>
                </c:pt>
                <c:pt idx="11">
                  <c:v>511</c:v>
                </c:pt>
                <c:pt idx="12">
                  <c:v>819</c:v>
                </c:pt>
                <c:pt idx="13">
                  <c:v>1042</c:v>
                </c:pt>
                <c:pt idx="14">
                  <c:v>852</c:v>
                </c:pt>
                <c:pt idx="15">
                  <c:v>490</c:v>
                </c:pt>
                <c:pt idx="16">
                  <c:v>402</c:v>
                </c:pt>
                <c:pt idx="17">
                  <c:v>571</c:v>
                </c:pt>
                <c:pt idx="18">
                  <c:v>669</c:v>
                </c:pt>
                <c:pt idx="19">
                  <c:v>328</c:v>
                </c:pt>
                <c:pt idx="20">
                  <c:v>97</c:v>
                </c:pt>
                <c:pt idx="21">
                  <c:v>634</c:v>
                </c:pt>
                <c:pt idx="22">
                  <c:v>435</c:v>
                </c:pt>
                <c:pt idx="23">
                  <c:v>699</c:v>
                </c:pt>
                <c:pt idx="24">
                  <c:v>248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'[Netto (1).xlsx]Netto'!$A$11</c:f>
              <c:strCache>
                <c:ptCount val="1"/>
                <c:pt idx="0">
                  <c:v>07 Vestfol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multiLvlStrRef>
              <c:f>'[Netto (1).xlsx]Netto'!$B$3:$Z$4</c:f>
              <c:multiLvlStrCache>
                <c:ptCount val="25"/>
                <c:lvl>
                  <c:pt idx="0">
                    <c:v>1994</c:v>
                  </c:pt>
                  <c:pt idx="1">
                    <c:v>1995</c:v>
                  </c:pt>
                  <c:pt idx="2">
                    <c:v>1996</c:v>
                  </c:pt>
                  <c:pt idx="3">
                    <c:v>1997</c:v>
                  </c:pt>
                  <c:pt idx="4">
                    <c:v>1998</c:v>
                  </c:pt>
                  <c:pt idx="5">
                    <c:v>1999</c:v>
                  </c:pt>
                  <c:pt idx="6">
                    <c:v>2000</c:v>
                  </c:pt>
                  <c:pt idx="7">
                    <c:v>2001</c:v>
                  </c:pt>
                  <c:pt idx="8">
                    <c:v>2002</c:v>
                  </c:pt>
                  <c:pt idx="9">
                    <c:v>2003</c:v>
                  </c:pt>
                  <c:pt idx="10">
                    <c:v>2004</c:v>
                  </c:pt>
                  <c:pt idx="11">
                    <c:v>2005</c:v>
                  </c:pt>
                  <c:pt idx="12">
                    <c:v>2006</c:v>
                  </c:pt>
                  <c:pt idx="13">
                    <c:v>2007</c:v>
                  </c:pt>
                  <c:pt idx="14">
                    <c:v>2008</c:v>
                  </c:pt>
                  <c:pt idx="15">
                    <c:v>2009</c:v>
                  </c:pt>
                  <c:pt idx="16">
                    <c:v>2010</c:v>
                  </c:pt>
                  <c:pt idx="17">
                    <c:v>2011</c:v>
                  </c:pt>
                  <c:pt idx="18">
                    <c:v>2012</c:v>
                  </c:pt>
                  <c:pt idx="19">
                    <c:v>2013</c:v>
                  </c:pt>
                  <c:pt idx="20">
                    <c:v>2014</c:v>
                  </c:pt>
                  <c:pt idx="21">
                    <c:v>2015</c:v>
                  </c:pt>
                  <c:pt idx="22">
                    <c:v>2016</c:v>
                  </c:pt>
                  <c:pt idx="23">
                    <c:v>2017</c:v>
                  </c:pt>
                  <c:pt idx="24">
                    <c:v>2018</c:v>
                  </c:pt>
                </c:lvl>
                <c:lvl>
                  <c:pt idx="0">
                    <c:v>Nettoinnflytting</c:v>
                  </c:pt>
                </c:lvl>
              </c:multiLvlStrCache>
            </c:multiLvlStrRef>
          </c:cat>
          <c:val>
            <c:numRef>
              <c:f>'[Netto (1).xlsx]Netto'!$B$11:$Z$11</c:f>
              <c:numCache>
                <c:formatCode>0</c:formatCode>
                <c:ptCount val="25"/>
                <c:pt idx="0">
                  <c:v>731</c:v>
                </c:pt>
                <c:pt idx="1">
                  <c:v>595</c:v>
                </c:pt>
                <c:pt idx="2">
                  <c:v>1033</c:v>
                </c:pt>
                <c:pt idx="3">
                  <c:v>1733</c:v>
                </c:pt>
                <c:pt idx="4">
                  <c:v>1401</c:v>
                </c:pt>
                <c:pt idx="5">
                  <c:v>1200</c:v>
                </c:pt>
                <c:pt idx="6">
                  <c:v>1652</c:v>
                </c:pt>
                <c:pt idx="7">
                  <c:v>996</c:v>
                </c:pt>
                <c:pt idx="8">
                  <c:v>1002</c:v>
                </c:pt>
                <c:pt idx="9">
                  <c:v>857</c:v>
                </c:pt>
                <c:pt idx="10">
                  <c:v>512</c:v>
                </c:pt>
                <c:pt idx="11">
                  <c:v>360</c:v>
                </c:pt>
                <c:pt idx="12">
                  <c:v>353</c:v>
                </c:pt>
                <c:pt idx="13">
                  <c:v>503</c:v>
                </c:pt>
                <c:pt idx="14">
                  <c:v>591</c:v>
                </c:pt>
                <c:pt idx="15">
                  <c:v>292</c:v>
                </c:pt>
                <c:pt idx="16">
                  <c:v>608</c:v>
                </c:pt>
                <c:pt idx="17">
                  <c:v>589</c:v>
                </c:pt>
                <c:pt idx="18">
                  <c:v>472</c:v>
                </c:pt>
                <c:pt idx="19">
                  <c:v>641</c:v>
                </c:pt>
                <c:pt idx="20">
                  <c:v>420</c:v>
                </c:pt>
                <c:pt idx="21">
                  <c:v>688</c:v>
                </c:pt>
                <c:pt idx="22">
                  <c:v>780</c:v>
                </c:pt>
                <c:pt idx="23">
                  <c:v>1052</c:v>
                </c:pt>
                <c:pt idx="24">
                  <c:v>113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5777320"/>
        <c:axId val="125776144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Netto (1).xlsx]Netto'!$A$5</c15:sqref>
                        </c15:formulaRef>
                      </c:ext>
                    </c:extLst>
                    <c:strCache>
                      <c:ptCount val="1"/>
                      <c:pt idx="0">
                        <c:v>01 Østfold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>
                      <c:ext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>
                      <c:ext uri="{02D57815-91ED-43cb-92C2-25804820EDAC}">
                        <c15:formulaRef>
                          <c15:sqref>'[Netto (1).xlsx]Netto'!$B$5:$Z$5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342</c:v>
                      </c:pt>
                      <c:pt idx="1">
                        <c:v>465</c:v>
                      </c:pt>
                      <c:pt idx="2">
                        <c:v>494</c:v>
                      </c:pt>
                      <c:pt idx="3">
                        <c:v>1788</c:v>
                      </c:pt>
                      <c:pt idx="4">
                        <c:v>1738</c:v>
                      </c:pt>
                      <c:pt idx="5">
                        <c:v>1392</c:v>
                      </c:pt>
                      <c:pt idx="6">
                        <c:v>2396</c:v>
                      </c:pt>
                      <c:pt idx="7">
                        <c:v>1433</c:v>
                      </c:pt>
                      <c:pt idx="8">
                        <c:v>1945</c:v>
                      </c:pt>
                      <c:pt idx="9">
                        <c:v>1208</c:v>
                      </c:pt>
                      <c:pt idx="10">
                        <c:v>1066</c:v>
                      </c:pt>
                      <c:pt idx="11">
                        <c:v>921</c:v>
                      </c:pt>
                      <c:pt idx="12">
                        <c:v>721</c:v>
                      </c:pt>
                      <c:pt idx="13">
                        <c:v>1283</c:v>
                      </c:pt>
                      <c:pt idx="14">
                        <c:v>1190</c:v>
                      </c:pt>
                      <c:pt idx="15">
                        <c:v>924</c:v>
                      </c:pt>
                      <c:pt idx="16">
                        <c:v>1430</c:v>
                      </c:pt>
                      <c:pt idx="17">
                        <c:v>1236</c:v>
                      </c:pt>
                      <c:pt idx="18">
                        <c:v>1654</c:v>
                      </c:pt>
                      <c:pt idx="19">
                        <c:v>1659</c:v>
                      </c:pt>
                      <c:pt idx="20">
                        <c:v>1136</c:v>
                      </c:pt>
                      <c:pt idx="21">
                        <c:v>1515</c:v>
                      </c:pt>
                      <c:pt idx="22">
                        <c:v>1548</c:v>
                      </c:pt>
                      <c:pt idx="23">
                        <c:v>1668</c:v>
                      </c:pt>
                      <c:pt idx="24">
                        <c:v>1516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6</c15:sqref>
                        </c15:formulaRef>
                      </c:ext>
                    </c:extLst>
                    <c:strCache>
                      <c:ptCount val="1"/>
                      <c:pt idx="0">
                        <c:v>02 Akershus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6:$Z$6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1426</c:v>
                      </c:pt>
                      <c:pt idx="1">
                        <c:v>2355</c:v>
                      </c:pt>
                      <c:pt idx="2">
                        <c:v>2892</c:v>
                      </c:pt>
                      <c:pt idx="3">
                        <c:v>3117</c:v>
                      </c:pt>
                      <c:pt idx="4">
                        <c:v>2897</c:v>
                      </c:pt>
                      <c:pt idx="5">
                        <c:v>2038</c:v>
                      </c:pt>
                      <c:pt idx="6">
                        <c:v>1691</c:v>
                      </c:pt>
                      <c:pt idx="7">
                        <c:v>2074</c:v>
                      </c:pt>
                      <c:pt idx="8">
                        <c:v>2338</c:v>
                      </c:pt>
                      <c:pt idx="9">
                        <c:v>1719</c:v>
                      </c:pt>
                      <c:pt idx="10">
                        <c:v>1628</c:v>
                      </c:pt>
                      <c:pt idx="11">
                        <c:v>2549</c:v>
                      </c:pt>
                      <c:pt idx="12">
                        <c:v>2349</c:v>
                      </c:pt>
                      <c:pt idx="13">
                        <c:v>2637</c:v>
                      </c:pt>
                      <c:pt idx="14">
                        <c:v>2421</c:v>
                      </c:pt>
                      <c:pt idx="15">
                        <c:v>2605</c:v>
                      </c:pt>
                      <c:pt idx="16">
                        <c:v>2478</c:v>
                      </c:pt>
                      <c:pt idx="17">
                        <c:v>2650</c:v>
                      </c:pt>
                      <c:pt idx="18">
                        <c:v>3017</c:v>
                      </c:pt>
                      <c:pt idx="19">
                        <c:v>3301</c:v>
                      </c:pt>
                      <c:pt idx="20">
                        <c:v>3005</c:v>
                      </c:pt>
                      <c:pt idx="21">
                        <c:v>5005</c:v>
                      </c:pt>
                      <c:pt idx="22">
                        <c:v>5657</c:v>
                      </c:pt>
                      <c:pt idx="23">
                        <c:v>5944</c:v>
                      </c:pt>
                      <c:pt idx="24">
                        <c:v>5590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8</c15:sqref>
                        </c15:formulaRef>
                      </c:ext>
                    </c:extLst>
                    <c:strCache>
                      <c:ptCount val="1"/>
                      <c:pt idx="0">
                        <c:v>04 Hedmark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8:$Z$8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586</c:v>
                      </c:pt>
                      <c:pt idx="1">
                        <c:v>-299</c:v>
                      </c:pt>
                      <c:pt idx="2">
                        <c:v>-206</c:v>
                      </c:pt>
                      <c:pt idx="3">
                        <c:v>207</c:v>
                      </c:pt>
                      <c:pt idx="4">
                        <c:v>354</c:v>
                      </c:pt>
                      <c:pt idx="5">
                        <c:v>238</c:v>
                      </c:pt>
                      <c:pt idx="6">
                        <c:v>549</c:v>
                      </c:pt>
                      <c:pt idx="7">
                        <c:v>232</c:v>
                      </c:pt>
                      <c:pt idx="8">
                        <c:v>352</c:v>
                      </c:pt>
                      <c:pt idx="9">
                        <c:v>-10</c:v>
                      </c:pt>
                      <c:pt idx="10">
                        <c:v>-159</c:v>
                      </c:pt>
                      <c:pt idx="11">
                        <c:v>-29</c:v>
                      </c:pt>
                      <c:pt idx="12">
                        <c:v>-38</c:v>
                      </c:pt>
                      <c:pt idx="13">
                        <c:v>49</c:v>
                      </c:pt>
                      <c:pt idx="14">
                        <c:v>186</c:v>
                      </c:pt>
                      <c:pt idx="15">
                        <c:v>-82</c:v>
                      </c:pt>
                      <c:pt idx="16">
                        <c:v>137</c:v>
                      </c:pt>
                      <c:pt idx="17">
                        <c:v>174</c:v>
                      </c:pt>
                      <c:pt idx="18">
                        <c:v>-38</c:v>
                      </c:pt>
                      <c:pt idx="19">
                        <c:v>-20</c:v>
                      </c:pt>
                      <c:pt idx="20">
                        <c:v>-213</c:v>
                      </c:pt>
                      <c:pt idx="21">
                        <c:v>-350</c:v>
                      </c:pt>
                      <c:pt idx="22">
                        <c:v>299</c:v>
                      </c:pt>
                      <c:pt idx="23">
                        <c:v>496</c:v>
                      </c:pt>
                      <c:pt idx="24">
                        <c:v>288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9</c15:sqref>
                        </c15:formulaRef>
                      </c:ext>
                    </c:extLst>
                    <c:strCache>
                      <c:ptCount val="1"/>
                      <c:pt idx="0">
                        <c:v>05 Oppland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9:$Z$9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348</c:v>
                      </c:pt>
                      <c:pt idx="1">
                        <c:v>-386</c:v>
                      </c:pt>
                      <c:pt idx="2">
                        <c:v>-511</c:v>
                      </c:pt>
                      <c:pt idx="3">
                        <c:v>-359</c:v>
                      </c:pt>
                      <c:pt idx="4">
                        <c:v>-213</c:v>
                      </c:pt>
                      <c:pt idx="5">
                        <c:v>-175</c:v>
                      </c:pt>
                      <c:pt idx="6">
                        <c:v>356</c:v>
                      </c:pt>
                      <c:pt idx="7">
                        <c:v>-211</c:v>
                      </c:pt>
                      <c:pt idx="8">
                        <c:v>-40</c:v>
                      </c:pt>
                      <c:pt idx="9">
                        <c:v>-310</c:v>
                      </c:pt>
                      <c:pt idx="10">
                        <c:v>-737</c:v>
                      </c:pt>
                      <c:pt idx="11">
                        <c:v>-542</c:v>
                      </c:pt>
                      <c:pt idx="12">
                        <c:v>-704</c:v>
                      </c:pt>
                      <c:pt idx="13">
                        <c:v>-146</c:v>
                      </c:pt>
                      <c:pt idx="14">
                        <c:v>-341</c:v>
                      </c:pt>
                      <c:pt idx="15">
                        <c:v>-15</c:v>
                      </c:pt>
                      <c:pt idx="16">
                        <c:v>-298</c:v>
                      </c:pt>
                      <c:pt idx="17">
                        <c:v>-288</c:v>
                      </c:pt>
                      <c:pt idx="18">
                        <c:v>-910</c:v>
                      </c:pt>
                      <c:pt idx="19">
                        <c:v>-426</c:v>
                      </c:pt>
                      <c:pt idx="20">
                        <c:v>-295</c:v>
                      </c:pt>
                      <c:pt idx="21">
                        <c:v>-725</c:v>
                      </c:pt>
                      <c:pt idx="22">
                        <c:v>-575</c:v>
                      </c:pt>
                      <c:pt idx="23">
                        <c:v>-48</c:v>
                      </c:pt>
                      <c:pt idx="24">
                        <c:v>-419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12</c15:sqref>
                        </c15:formulaRef>
                      </c:ext>
                    </c:extLst>
                    <c:strCache>
                      <c:ptCount val="1"/>
                      <c:pt idx="0">
                        <c:v>08 Telemark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12:$Z$12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256</c:v>
                      </c:pt>
                      <c:pt idx="1">
                        <c:v>-169</c:v>
                      </c:pt>
                      <c:pt idx="2">
                        <c:v>-60</c:v>
                      </c:pt>
                      <c:pt idx="3">
                        <c:v>70</c:v>
                      </c:pt>
                      <c:pt idx="4">
                        <c:v>173</c:v>
                      </c:pt>
                      <c:pt idx="5">
                        <c:v>-95</c:v>
                      </c:pt>
                      <c:pt idx="6">
                        <c:v>169</c:v>
                      </c:pt>
                      <c:pt idx="7">
                        <c:v>-168</c:v>
                      </c:pt>
                      <c:pt idx="8">
                        <c:v>-142</c:v>
                      </c:pt>
                      <c:pt idx="9">
                        <c:v>-327</c:v>
                      </c:pt>
                      <c:pt idx="10">
                        <c:v>-348</c:v>
                      </c:pt>
                      <c:pt idx="11">
                        <c:v>-539</c:v>
                      </c:pt>
                      <c:pt idx="12">
                        <c:v>-482</c:v>
                      </c:pt>
                      <c:pt idx="13">
                        <c:v>-373</c:v>
                      </c:pt>
                      <c:pt idx="14">
                        <c:v>3</c:v>
                      </c:pt>
                      <c:pt idx="15">
                        <c:v>-251</c:v>
                      </c:pt>
                      <c:pt idx="16">
                        <c:v>-147</c:v>
                      </c:pt>
                      <c:pt idx="17">
                        <c:v>-240</c:v>
                      </c:pt>
                      <c:pt idx="18">
                        <c:v>-309</c:v>
                      </c:pt>
                      <c:pt idx="19">
                        <c:v>-288</c:v>
                      </c:pt>
                      <c:pt idx="20">
                        <c:v>-217</c:v>
                      </c:pt>
                      <c:pt idx="21">
                        <c:v>-336</c:v>
                      </c:pt>
                      <c:pt idx="22">
                        <c:v>-230</c:v>
                      </c:pt>
                      <c:pt idx="23">
                        <c:v>-535</c:v>
                      </c:pt>
                      <c:pt idx="24">
                        <c:v>-428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9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14</c15:sqref>
                        </c15:formulaRef>
                      </c:ext>
                    </c:extLst>
                    <c:strCache>
                      <c:ptCount val="1"/>
                      <c:pt idx="0">
                        <c:v>10 Vest-Agder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14:$Z$14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88</c:v>
                      </c:pt>
                      <c:pt idx="1">
                        <c:v>60</c:v>
                      </c:pt>
                      <c:pt idx="2">
                        <c:v>206</c:v>
                      </c:pt>
                      <c:pt idx="3">
                        <c:v>202</c:v>
                      </c:pt>
                      <c:pt idx="4">
                        <c:v>526</c:v>
                      </c:pt>
                      <c:pt idx="5">
                        <c:v>51</c:v>
                      </c:pt>
                      <c:pt idx="6">
                        <c:v>107</c:v>
                      </c:pt>
                      <c:pt idx="7">
                        <c:v>151</c:v>
                      </c:pt>
                      <c:pt idx="8">
                        <c:v>28</c:v>
                      </c:pt>
                      <c:pt idx="9">
                        <c:v>-254</c:v>
                      </c:pt>
                      <c:pt idx="10">
                        <c:v>-41</c:v>
                      </c:pt>
                      <c:pt idx="11">
                        <c:v>-228</c:v>
                      </c:pt>
                      <c:pt idx="12">
                        <c:v>-259</c:v>
                      </c:pt>
                      <c:pt idx="13">
                        <c:v>111</c:v>
                      </c:pt>
                      <c:pt idx="14">
                        <c:v>-25</c:v>
                      </c:pt>
                      <c:pt idx="15">
                        <c:v>-54</c:v>
                      </c:pt>
                      <c:pt idx="16">
                        <c:v>-74</c:v>
                      </c:pt>
                      <c:pt idx="17">
                        <c:v>-80</c:v>
                      </c:pt>
                      <c:pt idx="18">
                        <c:v>-27</c:v>
                      </c:pt>
                      <c:pt idx="19">
                        <c:v>52</c:v>
                      </c:pt>
                      <c:pt idx="20">
                        <c:v>212</c:v>
                      </c:pt>
                      <c:pt idx="21">
                        <c:v>-105</c:v>
                      </c:pt>
                      <c:pt idx="22">
                        <c:v>-606</c:v>
                      </c:pt>
                      <c:pt idx="23">
                        <c:v>878</c:v>
                      </c:pt>
                      <c:pt idx="24">
                        <c:v>64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0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15</c15:sqref>
                        </c15:formulaRef>
                      </c:ext>
                    </c:extLst>
                    <c:strCache>
                      <c:ptCount val="1"/>
                      <c:pt idx="0">
                        <c:v>11 Rogaland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15:$Z$15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775</c:v>
                      </c:pt>
                      <c:pt idx="1">
                        <c:v>4</c:v>
                      </c:pt>
                      <c:pt idx="2">
                        <c:v>477</c:v>
                      </c:pt>
                      <c:pt idx="3">
                        <c:v>660</c:v>
                      </c:pt>
                      <c:pt idx="4">
                        <c:v>402</c:v>
                      </c:pt>
                      <c:pt idx="5">
                        <c:v>-122</c:v>
                      </c:pt>
                      <c:pt idx="6">
                        <c:v>-539</c:v>
                      </c:pt>
                      <c:pt idx="7">
                        <c:v>-247</c:v>
                      </c:pt>
                      <c:pt idx="8">
                        <c:v>567</c:v>
                      </c:pt>
                      <c:pt idx="9">
                        <c:v>380</c:v>
                      </c:pt>
                      <c:pt idx="10">
                        <c:v>449</c:v>
                      </c:pt>
                      <c:pt idx="11">
                        <c:v>161</c:v>
                      </c:pt>
                      <c:pt idx="12">
                        <c:v>704</c:v>
                      </c:pt>
                      <c:pt idx="13">
                        <c:v>171</c:v>
                      </c:pt>
                      <c:pt idx="14">
                        <c:v>-115</c:v>
                      </c:pt>
                      <c:pt idx="15">
                        <c:v>-196</c:v>
                      </c:pt>
                      <c:pt idx="16">
                        <c:v>-183</c:v>
                      </c:pt>
                      <c:pt idx="17">
                        <c:v>-159</c:v>
                      </c:pt>
                      <c:pt idx="18">
                        <c:v>-298</c:v>
                      </c:pt>
                      <c:pt idx="19">
                        <c:v>53</c:v>
                      </c:pt>
                      <c:pt idx="20">
                        <c:v>-274</c:v>
                      </c:pt>
                      <c:pt idx="21">
                        <c:v>-1128</c:v>
                      </c:pt>
                      <c:pt idx="22">
                        <c:v>-1782</c:v>
                      </c:pt>
                      <c:pt idx="23">
                        <c:v>-2198</c:v>
                      </c:pt>
                      <c:pt idx="24">
                        <c:v>-961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1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16</c15:sqref>
                        </c15:formulaRef>
                      </c:ext>
                    </c:extLst>
                    <c:strCache>
                      <c:ptCount val="1"/>
                      <c:pt idx="0">
                        <c:v>12 Hordaland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16:$Z$16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210</c:v>
                      </c:pt>
                      <c:pt idx="1">
                        <c:v>-412</c:v>
                      </c:pt>
                      <c:pt idx="2">
                        <c:v>-620</c:v>
                      </c:pt>
                      <c:pt idx="3">
                        <c:v>-645</c:v>
                      </c:pt>
                      <c:pt idx="4">
                        <c:v>-137</c:v>
                      </c:pt>
                      <c:pt idx="5">
                        <c:v>-331</c:v>
                      </c:pt>
                      <c:pt idx="6">
                        <c:v>-246</c:v>
                      </c:pt>
                      <c:pt idx="7">
                        <c:v>379</c:v>
                      </c:pt>
                      <c:pt idx="8">
                        <c:v>121</c:v>
                      </c:pt>
                      <c:pt idx="9">
                        <c:v>318</c:v>
                      </c:pt>
                      <c:pt idx="10">
                        <c:v>157</c:v>
                      </c:pt>
                      <c:pt idx="11">
                        <c:v>-24</c:v>
                      </c:pt>
                      <c:pt idx="12">
                        <c:v>-265</c:v>
                      </c:pt>
                      <c:pt idx="13">
                        <c:v>-325</c:v>
                      </c:pt>
                      <c:pt idx="14">
                        <c:v>175</c:v>
                      </c:pt>
                      <c:pt idx="15">
                        <c:v>596</c:v>
                      </c:pt>
                      <c:pt idx="16">
                        <c:v>84</c:v>
                      </c:pt>
                      <c:pt idx="17">
                        <c:v>-234</c:v>
                      </c:pt>
                      <c:pt idx="18">
                        <c:v>358</c:v>
                      </c:pt>
                      <c:pt idx="19">
                        <c:v>357</c:v>
                      </c:pt>
                      <c:pt idx="20">
                        <c:v>87</c:v>
                      </c:pt>
                      <c:pt idx="21">
                        <c:v>-47</c:v>
                      </c:pt>
                      <c:pt idx="22">
                        <c:v>-410</c:v>
                      </c:pt>
                      <c:pt idx="23">
                        <c:v>-1076</c:v>
                      </c:pt>
                      <c:pt idx="24">
                        <c:v>-1075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2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17</c15:sqref>
                        </c15:formulaRef>
                      </c:ext>
                    </c:extLst>
                    <c:strCache>
                      <c:ptCount val="1"/>
                      <c:pt idx="0">
                        <c:v>14 Sogn og Fjordan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17:$Z$17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550</c:v>
                      </c:pt>
                      <c:pt idx="1">
                        <c:v>-464</c:v>
                      </c:pt>
                      <c:pt idx="2">
                        <c:v>-377</c:v>
                      </c:pt>
                      <c:pt idx="3">
                        <c:v>-727</c:v>
                      </c:pt>
                      <c:pt idx="4">
                        <c:v>-822</c:v>
                      </c:pt>
                      <c:pt idx="5">
                        <c:v>-584</c:v>
                      </c:pt>
                      <c:pt idx="6">
                        <c:v>-638</c:v>
                      </c:pt>
                      <c:pt idx="7">
                        <c:v>-994</c:v>
                      </c:pt>
                      <c:pt idx="8">
                        <c:v>-718</c:v>
                      </c:pt>
                      <c:pt idx="9">
                        <c:v>-591</c:v>
                      </c:pt>
                      <c:pt idx="10">
                        <c:v>-764</c:v>
                      </c:pt>
                      <c:pt idx="11">
                        <c:v>-1042</c:v>
                      </c:pt>
                      <c:pt idx="12">
                        <c:v>-1124</c:v>
                      </c:pt>
                      <c:pt idx="13">
                        <c:v>-912</c:v>
                      </c:pt>
                      <c:pt idx="14">
                        <c:v>-1004</c:v>
                      </c:pt>
                      <c:pt idx="15">
                        <c:v>-739</c:v>
                      </c:pt>
                      <c:pt idx="16">
                        <c:v>-761</c:v>
                      </c:pt>
                      <c:pt idx="17">
                        <c:v>-685</c:v>
                      </c:pt>
                      <c:pt idx="18">
                        <c:v>-915</c:v>
                      </c:pt>
                      <c:pt idx="19">
                        <c:v>-841</c:v>
                      </c:pt>
                      <c:pt idx="20">
                        <c:v>-856</c:v>
                      </c:pt>
                      <c:pt idx="21">
                        <c:v>-732</c:v>
                      </c:pt>
                      <c:pt idx="22">
                        <c:v>-663</c:v>
                      </c:pt>
                      <c:pt idx="23">
                        <c:v>-913</c:v>
                      </c:pt>
                      <c:pt idx="24">
                        <c:v>-699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3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18</c15:sqref>
                        </c15:formulaRef>
                      </c:ext>
                    </c:extLst>
                    <c:strCache>
                      <c:ptCount val="1"/>
                      <c:pt idx="0">
                        <c:v>15 Møre og Romsdal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18:$Z$18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371</c:v>
                      </c:pt>
                      <c:pt idx="1">
                        <c:v>-219</c:v>
                      </c:pt>
                      <c:pt idx="2">
                        <c:v>-602</c:v>
                      </c:pt>
                      <c:pt idx="3">
                        <c:v>-484</c:v>
                      </c:pt>
                      <c:pt idx="4">
                        <c:v>-627</c:v>
                      </c:pt>
                      <c:pt idx="5">
                        <c:v>-886</c:v>
                      </c:pt>
                      <c:pt idx="6">
                        <c:v>-954</c:v>
                      </c:pt>
                      <c:pt idx="7">
                        <c:v>-1036</c:v>
                      </c:pt>
                      <c:pt idx="8">
                        <c:v>-958</c:v>
                      </c:pt>
                      <c:pt idx="9">
                        <c:v>-1025</c:v>
                      </c:pt>
                      <c:pt idx="10">
                        <c:v>-1423</c:v>
                      </c:pt>
                      <c:pt idx="11">
                        <c:v>-1142</c:v>
                      </c:pt>
                      <c:pt idx="12">
                        <c:v>-1175</c:v>
                      </c:pt>
                      <c:pt idx="13">
                        <c:v>-1020</c:v>
                      </c:pt>
                      <c:pt idx="14">
                        <c:v>-792</c:v>
                      </c:pt>
                      <c:pt idx="15">
                        <c:v>-629</c:v>
                      </c:pt>
                      <c:pt idx="16">
                        <c:v>-702</c:v>
                      </c:pt>
                      <c:pt idx="17">
                        <c:v>-765</c:v>
                      </c:pt>
                      <c:pt idx="18">
                        <c:v>-886</c:v>
                      </c:pt>
                      <c:pt idx="19">
                        <c:v>-901</c:v>
                      </c:pt>
                      <c:pt idx="20">
                        <c:v>-684</c:v>
                      </c:pt>
                      <c:pt idx="21">
                        <c:v>-987</c:v>
                      </c:pt>
                      <c:pt idx="22">
                        <c:v>-1157</c:v>
                      </c:pt>
                      <c:pt idx="23">
                        <c:v>-1079</c:v>
                      </c:pt>
                      <c:pt idx="24">
                        <c:v>-971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4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19</c15:sqref>
                        </c15:formulaRef>
                      </c:ext>
                    </c:extLst>
                    <c:strCache>
                      <c:ptCount val="1"/>
                      <c:pt idx="0">
                        <c:v>50 Trøndelag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19:$Z$19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-254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5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20</c15:sqref>
                        </c15:formulaRef>
                      </c:ext>
                    </c:extLst>
                    <c:strCache>
                      <c:ptCount val="1"/>
                      <c:pt idx="0">
                        <c:v>16 Sør-Trøndelag (-2017)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20:$Z$20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576</c:v>
                      </c:pt>
                      <c:pt idx="1">
                        <c:v>-348</c:v>
                      </c:pt>
                      <c:pt idx="2">
                        <c:v>-367</c:v>
                      </c:pt>
                      <c:pt idx="3">
                        <c:v>-581</c:v>
                      </c:pt>
                      <c:pt idx="4">
                        <c:v>31</c:v>
                      </c:pt>
                      <c:pt idx="5">
                        <c:v>193</c:v>
                      </c:pt>
                      <c:pt idx="6">
                        <c:v>372</c:v>
                      </c:pt>
                      <c:pt idx="7">
                        <c:v>92</c:v>
                      </c:pt>
                      <c:pt idx="8">
                        <c:v>120</c:v>
                      </c:pt>
                      <c:pt idx="9">
                        <c:v>771</c:v>
                      </c:pt>
                      <c:pt idx="10">
                        <c:v>489</c:v>
                      </c:pt>
                      <c:pt idx="11">
                        <c:v>742</c:v>
                      </c:pt>
                      <c:pt idx="12">
                        <c:v>940</c:v>
                      </c:pt>
                      <c:pt idx="13">
                        <c:v>667</c:v>
                      </c:pt>
                      <c:pt idx="14">
                        <c:v>275</c:v>
                      </c:pt>
                      <c:pt idx="15">
                        <c:v>328</c:v>
                      </c:pt>
                      <c:pt idx="16">
                        <c:v>194</c:v>
                      </c:pt>
                      <c:pt idx="17">
                        <c:v>56</c:v>
                      </c:pt>
                      <c:pt idx="18">
                        <c:v>654</c:v>
                      </c:pt>
                      <c:pt idx="19">
                        <c:v>396</c:v>
                      </c:pt>
                      <c:pt idx="20">
                        <c:v>767</c:v>
                      </c:pt>
                      <c:pt idx="21">
                        <c:v>557</c:v>
                      </c:pt>
                      <c:pt idx="22">
                        <c:v>1026</c:v>
                      </c:pt>
                      <c:pt idx="23">
                        <c:v>608</c:v>
                      </c:pt>
                      <c:pt idx="24">
                        <c:v>0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6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21</c15:sqref>
                        </c15:formulaRef>
                      </c:ext>
                    </c:extLst>
                    <c:strCache>
                      <c:ptCount val="1"/>
                      <c:pt idx="0">
                        <c:v>17 Nord-Trøndelag (-2017)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21:$Z$21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633</c:v>
                      </c:pt>
                      <c:pt idx="1">
                        <c:v>-796</c:v>
                      </c:pt>
                      <c:pt idx="2">
                        <c:v>-712</c:v>
                      </c:pt>
                      <c:pt idx="3">
                        <c:v>-888</c:v>
                      </c:pt>
                      <c:pt idx="4">
                        <c:v>-721</c:v>
                      </c:pt>
                      <c:pt idx="5">
                        <c:v>-524</c:v>
                      </c:pt>
                      <c:pt idx="6">
                        <c:v>-475</c:v>
                      </c:pt>
                      <c:pt idx="7">
                        <c:v>-283</c:v>
                      </c:pt>
                      <c:pt idx="8">
                        <c:v>-346</c:v>
                      </c:pt>
                      <c:pt idx="9">
                        <c:v>-224</c:v>
                      </c:pt>
                      <c:pt idx="10">
                        <c:v>-28</c:v>
                      </c:pt>
                      <c:pt idx="11">
                        <c:v>-384</c:v>
                      </c:pt>
                      <c:pt idx="12">
                        <c:v>-315</c:v>
                      </c:pt>
                      <c:pt idx="13">
                        <c:v>-327</c:v>
                      </c:pt>
                      <c:pt idx="14">
                        <c:v>-66</c:v>
                      </c:pt>
                      <c:pt idx="15">
                        <c:v>-155</c:v>
                      </c:pt>
                      <c:pt idx="16">
                        <c:v>-224</c:v>
                      </c:pt>
                      <c:pt idx="17">
                        <c:v>9</c:v>
                      </c:pt>
                      <c:pt idx="18">
                        <c:v>-243</c:v>
                      </c:pt>
                      <c:pt idx="19">
                        <c:v>-466</c:v>
                      </c:pt>
                      <c:pt idx="20">
                        <c:v>-361</c:v>
                      </c:pt>
                      <c:pt idx="21">
                        <c:v>-430</c:v>
                      </c:pt>
                      <c:pt idx="22">
                        <c:v>-519</c:v>
                      </c:pt>
                      <c:pt idx="23">
                        <c:v>-503</c:v>
                      </c:pt>
                      <c:pt idx="24">
                        <c:v>0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7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22</c15:sqref>
                        </c15:formulaRef>
                      </c:ext>
                    </c:extLst>
                    <c:strCache>
                      <c:ptCount val="1"/>
                      <c:pt idx="0">
                        <c:v>18 Nordland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22:$Z$22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775</c:v>
                      </c:pt>
                      <c:pt idx="1">
                        <c:v>-1524</c:v>
                      </c:pt>
                      <c:pt idx="2">
                        <c:v>-2153</c:v>
                      </c:pt>
                      <c:pt idx="3">
                        <c:v>-2305</c:v>
                      </c:pt>
                      <c:pt idx="4">
                        <c:v>-1799</c:v>
                      </c:pt>
                      <c:pt idx="5">
                        <c:v>-1562</c:v>
                      </c:pt>
                      <c:pt idx="6">
                        <c:v>-2230</c:v>
                      </c:pt>
                      <c:pt idx="7">
                        <c:v>-1680</c:v>
                      </c:pt>
                      <c:pt idx="8">
                        <c:v>-1670</c:v>
                      </c:pt>
                      <c:pt idx="9">
                        <c:v>-1154</c:v>
                      </c:pt>
                      <c:pt idx="10">
                        <c:v>-1325</c:v>
                      </c:pt>
                      <c:pt idx="11">
                        <c:v>-1559</c:v>
                      </c:pt>
                      <c:pt idx="12">
                        <c:v>-1946</c:v>
                      </c:pt>
                      <c:pt idx="13">
                        <c:v>-1718</c:v>
                      </c:pt>
                      <c:pt idx="14">
                        <c:v>-1366</c:v>
                      </c:pt>
                      <c:pt idx="15">
                        <c:v>-1132</c:v>
                      </c:pt>
                      <c:pt idx="16">
                        <c:v>-999</c:v>
                      </c:pt>
                      <c:pt idx="17">
                        <c:v>-1129</c:v>
                      </c:pt>
                      <c:pt idx="18">
                        <c:v>-1437</c:v>
                      </c:pt>
                      <c:pt idx="19">
                        <c:v>-1328</c:v>
                      </c:pt>
                      <c:pt idx="20">
                        <c:v>-1587</c:v>
                      </c:pt>
                      <c:pt idx="21">
                        <c:v>-1962</c:v>
                      </c:pt>
                      <c:pt idx="22">
                        <c:v>-1379</c:v>
                      </c:pt>
                      <c:pt idx="23">
                        <c:v>-1361</c:v>
                      </c:pt>
                      <c:pt idx="24">
                        <c:v>-1220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8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23</c15:sqref>
                        </c15:formulaRef>
                      </c:ext>
                    </c:extLst>
                    <c:strCache>
                      <c:ptCount val="1"/>
                      <c:pt idx="0">
                        <c:v>19 Troms - Roms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23:$Z$23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326</c:v>
                      </c:pt>
                      <c:pt idx="1">
                        <c:v>-645</c:v>
                      </c:pt>
                      <c:pt idx="2">
                        <c:v>-1009</c:v>
                      </c:pt>
                      <c:pt idx="3">
                        <c:v>-1927</c:v>
                      </c:pt>
                      <c:pt idx="4">
                        <c:v>-1313</c:v>
                      </c:pt>
                      <c:pt idx="5">
                        <c:v>-396</c:v>
                      </c:pt>
                      <c:pt idx="6">
                        <c:v>-557</c:v>
                      </c:pt>
                      <c:pt idx="7">
                        <c:v>-907</c:v>
                      </c:pt>
                      <c:pt idx="8">
                        <c:v>-618</c:v>
                      </c:pt>
                      <c:pt idx="9">
                        <c:v>-652</c:v>
                      </c:pt>
                      <c:pt idx="10">
                        <c:v>-782</c:v>
                      </c:pt>
                      <c:pt idx="11">
                        <c:v>-478</c:v>
                      </c:pt>
                      <c:pt idx="12">
                        <c:v>-646</c:v>
                      </c:pt>
                      <c:pt idx="13">
                        <c:v>-1124</c:v>
                      </c:pt>
                      <c:pt idx="14">
                        <c:v>-877</c:v>
                      </c:pt>
                      <c:pt idx="15">
                        <c:v>-831</c:v>
                      </c:pt>
                      <c:pt idx="16">
                        <c:v>-895</c:v>
                      </c:pt>
                      <c:pt idx="17">
                        <c:v>-871</c:v>
                      </c:pt>
                      <c:pt idx="18">
                        <c:v>-468</c:v>
                      </c:pt>
                      <c:pt idx="19">
                        <c:v>-632</c:v>
                      </c:pt>
                      <c:pt idx="20">
                        <c:v>-790</c:v>
                      </c:pt>
                      <c:pt idx="21">
                        <c:v>-1111</c:v>
                      </c:pt>
                      <c:pt idx="22">
                        <c:v>-636</c:v>
                      </c:pt>
                      <c:pt idx="23">
                        <c:v>-722</c:v>
                      </c:pt>
                      <c:pt idx="24">
                        <c:v>-655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9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A$24</c15:sqref>
                        </c15:formulaRef>
                      </c:ext>
                    </c:extLst>
                    <c:strCache>
                      <c:ptCount val="1"/>
                      <c:pt idx="0">
                        <c:v>20 Finnmark - Finnmárku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3:$Z$4</c15:sqref>
                        </c15:formulaRef>
                      </c:ext>
                    </c:extLst>
                    <c:multiLvlStrCache>
                      <c:ptCount val="25"/>
                      <c:lvl>
                        <c:pt idx="0">
                          <c:v>1994</c:v>
                        </c:pt>
                        <c:pt idx="1">
                          <c:v>1995</c:v>
                        </c:pt>
                        <c:pt idx="2">
                          <c:v>1996</c:v>
                        </c:pt>
                        <c:pt idx="3">
                          <c:v>1997</c:v>
                        </c:pt>
                        <c:pt idx="4">
                          <c:v>1998</c:v>
                        </c:pt>
                        <c:pt idx="5">
                          <c:v>1999</c:v>
                        </c:pt>
                        <c:pt idx="6">
                          <c:v>2000</c:v>
                        </c:pt>
                        <c:pt idx="7">
                          <c:v>2001</c:v>
                        </c:pt>
                        <c:pt idx="8">
                          <c:v>2002</c:v>
                        </c:pt>
                        <c:pt idx="9">
                          <c:v>2003</c:v>
                        </c:pt>
                        <c:pt idx="10">
                          <c:v>2004</c:v>
                        </c:pt>
                        <c:pt idx="11">
                          <c:v>2005</c:v>
                        </c:pt>
                        <c:pt idx="12">
                          <c:v>2006</c:v>
                        </c:pt>
                        <c:pt idx="13">
                          <c:v>2007</c:v>
                        </c:pt>
                        <c:pt idx="14">
                          <c:v>2008</c:v>
                        </c:pt>
                        <c:pt idx="15">
                          <c:v>2009</c:v>
                        </c:pt>
                        <c:pt idx="16">
                          <c:v>2010</c:v>
                        </c:pt>
                        <c:pt idx="17">
                          <c:v>2011</c:v>
                        </c:pt>
                        <c:pt idx="18">
                          <c:v>2012</c:v>
                        </c:pt>
                        <c:pt idx="19">
                          <c:v>2013</c:v>
                        </c:pt>
                        <c:pt idx="20">
                          <c:v>2014</c:v>
                        </c:pt>
                        <c:pt idx="21">
                          <c:v>2015</c:v>
                        </c:pt>
                        <c:pt idx="22">
                          <c:v>2016</c:v>
                        </c:pt>
                        <c:pt idx="23">
                          <c:v>2017</c:v>
                        </c:pt>
                        <c:pt idx="24">
                          <c:v>2018</c:v>
                        </c:pt>
                      </c:lvl>
                      <c:lvl>
                        <c:pt idx="0">
                          <c:v>Nettoinnflytting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Netto (1).xlsx]Netto'!$B$24:$Z$24</c15:sqref>
                        </c15:formulaRef>
                      </c:ext>
                    </c:extLst>
                    <c:numCache>
                      <c:formatCode>0</c:formatCode>
                      <c:ptCount val="25"/>
                      <c:pt idx="0">
                        <c:v>-829</c:v>
                      </c:pt>
                      <c:pt idx="1">
                        <c:v>-1130</c:v>
                      </c:pt>
                      <c:pt idx="2">
                        <c:v>-1727</c:v>
                      </c:pt>
                      <c:pt idx="3">
                        <c:v>-1633</c:v>
                      </c:pt>
                      <c:pt idx="4">
                        <c:v>-1703</c:v>
                      </c:pt>
                      <c:pt idx="5">
                        <c:v>-1094</c:v>
                      </c:pt>
                      <c:pt idx="6">
                        <c:v>-1091</c:v>
                      </c:pt>
                      <c:pt idx="7">
                        <c:v>-938</c:v>
                      </c:pt>
                      <c:pt idx="8">
                        <c:v>-966</c:v>
                      </c:pt>
                      <c:pt idx="9">
                        <c:v>-803</c:v>
                      </c:pt>
                      <c:pt idx="10">
                        <c:v>-593</c:v>
                      </c:pt>
                      <c:pt idx="11">
                        <c:v>-588</c:v>
                      </c:pt>
                      <c:pt idx="12">
                        <c:v>-761</c:v>
                      </c:pt>
                      <c:pt idx="13">
                        <c:v>-996</c:v>
                      </c:pt>
                      <c:pt idx="14">
                        <c:v>-914</c:v>
                      </c:pt>
                      <c:pt idx="15">
                        <c:v>-634</c:v>
                      </c:pt>
                      <c:pt idx="16">
                        <c:v>-402</c:v>
                      </c:pt>
                      <c:pt idx="17">
                        <c:v>-652</c:v>
                      </c:pt>
                      <c:pt idx="18">
                        <c:v>-575</c:v>
                      </c:pt>
                      <c:pt idx="19">
                        <c:v>-508</c:v>
                      </c:pt>
                      <c:pt idx="20">
                        <c:v>-637</c:v>
                      </c:pt>
                      <c:pt idx="21">
                        <c:v>-791</c:v>
                      </c:pt>
                      <c:pt idx="22">
                        <c:v>-643</c:v>
                      </c:pt>
                      <c:pt idx="23">
                        <c:v>-612</c:v>
                      </c:pt>
                      <c:pt idx="24">
                        <c:v>-834</c:v>
                      </c:pt>
                    </c:numCache>
                  </c:numRef>
                </c:val>
                <c:smooth val="0"/>
              </c15:ser>
            </c15:filteredLineSeries>
          </c:ext>
        </c:extLst>
      </c:lineChart>
      <c:catAx>
        <c:axId val="125777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25776144"/>
        <c:crosses val="autoZero"/>
        <c:auto val="1"/>
        <c:lblAlgn val="ctr"/>
        <c:lblOffset val="100"/>
        <c:noMultiLvlLbl val="0"/>
      </c:catAx>
      <c:valAx>
        <c:axId val="125776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25777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3794500013785"/>
          <c:y val="7.1974078666546981E-2"/>
          <c:w val="0.85161432039574592"/>
          <c:h val="0.80618602045302012"/>
        </c:manualLayout>
      </c:layout>
      <c:area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BV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'Ark1'!$A$2:$A$753</c:f>
              <c:numCache>
                <c:formatCode>dd\.mm\.yy</c:formatCode>
                <c:ptCount val="752"/>
                <c:pt idx="0">
                  <c:v>43738</c:v>
                </c:pt>
                <c:pt idx="1">
                  <c:v>43735</c:v>
                </c:pt>
                <c:pt idx="2">
                  <c:v>43734</c:v>
                </c:pt>
                <c:pt idx="3">
                  <c:v>43733</c:v>
                </c:pt>
                <c:pt idx="4">
                  <c:v>43732</c:v>
                </c:pt>
                <c:pt idx="5">
                  <c:v>43731</c:v>
                </c:pt>
                <c:pt idx="6">
                  <c:v>43728</c:v>
                </c:pt>
                <c:pt idx="7">
                  <c:v>43727</c:v>
                </c:pt>
                <c:pt idx="8">
                  <c:v>43726</c:v>
                </c:pt>
                <c:pt idx="9">
                  <c:v>43725</c:v>
                </c:pt>
                <c:pt idx="10">
                  <c:v>43724</c:v>
                </c:pt>
                <c:pt idx="11">
                  <c:v>43721</c:v>
                </c:pt>
                <c:pt idx="12">
                  <c:v>43720</c:v>
                </c:pt>
                <c:pt idx="13">
                  <c:v>43719</c:v>
                </c:pt>
                <c:pt idx="14">
                  <c:v>43718</c:v>
                </c:pt>
                <c:pt idx="15">
                  <c:v>43717</c:v>
                </c:pt>
                <c:pt idx="16">
                  <c:v>43714</c:v>
                </c:pt>
                <c:pt idx="17">
                  <c:v>43713</c:v>
                </c:pt>
                <c:pt idx="18">
                  <c:v>43712</c:v>
                </c:pt>
                <c:pt idx="19">
                  <c:v>43711</c:v>
                </c:pt>
                <c:pt idx="20">
                  <c:v>43710</c:v>
                </c:pt>
                <c:pt idx="21">
                  <c:v>43707</c:v>
                </c:pt>
                <c:pt idx="22">
                  <c:v>43706</c:v>
                </c:pt>
                <c:pt idx="23">
                  <c:v>43705</c:v>
                </c:pt>
                <c:pt idx="24">
                  <c:v>43704</c:v>
                </c:pt>
                <c:pt idx="25">
                  <c:v>43703</c:v>
                </c:pt>
                <c:pt idx="26">
                  <c:v>43700</c:v>
                </c:pt>
                <c:pt idx="27">
                  <c:v>43699</c:v>
                </c:pt>
                <c:pt idx="28">
                  <c:v>43698</c:v>
                </c:pt>
                <c:pt idx="29">
                  <c:v>43697</c:v>
                </c:pt>
                <c:pt idx="30">
                  <c:v>43696</c:v>
                </c:pt>
                <c:pt idx="31">
                  <c:v>43693</c:v>
                </c:pt>
                <c:pt idx="32">
                  <c:v>43692</c:v>
                </c:pt>
                <c:pt idx="33">
                  <c:v>43691</c:v>
                </c:pt>
                <c:pt idx="34">
                  <c:v>43690</c:v>
                </c:pt>
                <c:pt idx="35">
                  <c:v>43689</c:v>
                </c:pt>
                <c:pt idx="36">
                  <c:v>43686</c:v>
                </c:pt>
                <c:pt idx="37">
                  <c:v>43685</c:v>
                </c:pt>
                <c:pt idx="38">
                  <c:v>43684</c:v>
                </c:pt>
                <c:pt idx="39">
                  <c:v>43683</c:v>
                </c:pt>
                <c:pt idx="40">
                  <c:v>43682</c:v>
                </c:pt>
                <c:pt idx="41">
                  <c:v>43679</c:v>
                </c:pt>
                <c:pt idx="42">
                  <c:v>43678</c:v>
                </c:pt>
                <c:pt idx="43">
                  <c:v>43677</c:v>
                </c:pt>
                <c:pt idx="44">
                  <c:v>43676</c:v>
                </c:pt>
                <c:pt idx="45">
                  <c:v>43675</c:v>
                </c:pt>
                <c:pt idx="46">
                  <c:v>43672</c:v>
                </c:pt>
                <c:pt idx="47">
                  <c:v>43671</c:v>
                </c:pt>
                <c:pt idx="48">
                  <c:v>43670</c:v>
                </c:pt>
                <c:pt idx="49">
                  <c:v>43669</c:v>
                </c:pt>
                <c:pt idx="50">
                  <c:v>43668</c:v>
                </c:pt>
                <c:pt idx="51">
                  <c:v>43665</c:v>
                </c:pt>
                <c:pt idx="52">
                  <c:v>43664</c:v>
                </c:pt>
                <c:pt idx="53">
                  <c:v>43663</c:v>
                </c:pt>
                <c:pt idx="54">
                  <c:v>43662</c:v>
                </c:pt>
                <c:pt idx="55">
                  <c:v>43661</c:v>
                </c:pt>
                <c:pt idx="56">
                  <c:v>43658</c:v>
                </c:pt>
                <c:pt idx="57">
                  <c:v>43657</c:v>
                </c:pt>
                <c:pt idx="58">
                  <c:v>43656</c:v>
                </c:pt>
                <c:pt idx="59">
                  <c:v>43655</c:v>
                </c:pt>
                <c:pt idx="60">
                  <c:v>43654</c:v>
                </c:pt>
                <c:pt idx="61">
                  <c:v>43651</c:v>
                </c:pt>
                <c:pt idx="62">
                  <c:v>43650</c:v>
                </c:pt>
                <c:pt idx="63">
                  <c:v>43649</c:v>
                </c:pt>
                <c:pt idx="64">
                  <c:v>43648</c:v>
                </c:pt>
                <c:pt idx="65">
                  <c:v>43647</c:v>
                </c:pt>
                <c:pt idx="66">
                  <c:v>43644</c:v>
                </c:pt>
                <c:pt idx="67">
                  <c:v>43643</c:v>
                </c:pt>
                <c:pt idx="68">
                  <c:v>43642</c:v>
                </c:pt>
                <c:pt idx="69">
                  <c:v>43641</c:v>
                </c:pt>
                <c:pt idx="70">
                  <c:v>43640</c:v>
                </c:pt>
                <c:pt idx="71">
                  <c:v>43637</c:v>
                </c:pt>
                <c:pt idx="72">
                  <c:v>43636</c:v>
                </c:pt>
                <c:pt idx="73">
                  <c:v>43635</c:v>
                </c:pt>
                <c:pt idx="74">
                  <c:v>43634</c:v>
                </c:pt>
                <c:pt idx="75">
                  <c:v>43633</c:v>
                </c:pt>
                <c:pt idx="76">
                  <c:v>43630</c:v>
                </c:pt>
                <c:pt idx="77">
                  <c:v>43629</c:v>
                </c:pt>
                <c:pt idx="78">
                  <c:v>43628</c:v>
                </c:pt>
                <c:pt idx="79">
                  <c:v>43627</c:v>
                </c:pt>
                <c:pt idx="80">
                  <c:v>43623</c:v>
                </c:pt>
                <c:pt idx="81">
                  <c:v>43622</c:v>
                </c:pt>
                <c:pt idx="82">
                  <c:v>43621</c:v>
                </c:pt>
                <c:pt idx="83">
                  <c:v>43620</c:v>
                </c:pt>
                <c:pt idx="84">
                  <c:v>43619</c:v>
                </c:pt>
                <c:pt idx="85">
                  <c:v>43616</c:v>
                </c:pt>
                <c:pt idx="86">
                  <c:v>43614</c:v>
                </c:pt>
                <c:pt idx="87">
                  <c:v>43613</c:v>
                </c:pt>
                <c:pt idx="88">
                  <c:v>43612</c:v>
                </c:pt>
                <c:pt idx="89">
                  <c:v>43609</c:v>
                </c:pt>
                <c:pt idx="90">
                  <c:v>43608</c:v>
                </c:pt>
                <c:pt idx="91">
                  <c:v>43607</c:v>
                </c:pt>
                <c:pt idx="92">
                  <c:v>43606</c:v>
                </c:pt>
                <c:pt idx="93">
                  <c:v>43605</c:v>
                </c:pt>
                <c:pt idx="94">
                  <c:v>43601</c:v>
                </c:pt>
                <c:pt idx="95">
                  <c:v>43600</c:v>
                </c:pt>
                <c:pt idx="96">
                  <c:v>43599</c:v>
                </c:pt>
                <c:pt idx="97">
                  <c:v>43598</c:v>
                </c:pt>
                <c:pt idx="98">
                  <c:v>43595</c:v>
                </c:pt>
                <c:pt idx="99">
                  <c:v>43594</c:v>
                </c:pt>
                <c:pt idx="100">
                  <c:v>43593</c:v>
                </c:pt>
                <c:pt idx="101">
                  <c:v>43592</c:v>
                </c:pt>
                <c:pt idx="102">
                  <c:v>43591</c:v>
                </c:pt>
                <c:pt idx="103">
                  <c:v>43588</c:v>
                </c:pt>
                <c:pt idx="104">
                  <c:v>43587</c:v>
                </c:pt>
                <c:pt idx="105">
                  <c:v>43585</c:v>
                </c:pt>
                <c:pt idx="106">
                  <c:v>43584</c:v>
                </c:pt>
                <c:pt idx="107">
                  <c:v>43581</c:v>
                </c:pt>
                <c:pt idx="108">
                  <c:v>43580</c:v>
                </c:pt>
                <c:pt idx="109">
                  <c:v>43579</c:v>
                </c:pt>
                <c:pt idx="110">
                  <c:v>43578</c:v>
                </c:pt>
                <c:pt idx="111">
                  <c:v>43572</c:v>
                </c:pt>
                <c:pt idx="112">
                  <c:v>43571</c:v>
                </c:pt>
                <c:pt idx="113">
                  <c:v>43570</c:v>
                </c:pt>
                <c:pt idx="114">
                  <c:v>43567</c:v>
                </c:pt>
                <c:pt idx="115">
                  <c:v>43566</c:v>
                </c:pt>
                <c:pt idx="116">
                  <c:v>43565</c:v>
                </c:pt>
                <c:pt idx="117">
                  <c:v>43564</c:v>
                </c:pt>
                <c:pt idx="118">
                  <c:v>43563</c:v>
                </c:pt>
                <c:pt idx="119">
                  <c:v>43560</c:v>
                </c:pt>
                <c:pt idx="120">
                  <c:v>43559</c:v>
                </c:pt>
                <c:pt idx="121">
                  <c:v>43558</c:v>
                </c:pt>
                <c:pt idx="122">
                  <c:v>43557</c:v>
                </c:pt>
                <c:pt idx="123">
                  <c:v>43556</c:v>
                </c:pt>
                <c:pt idx="124">
                  <c:v>43553</c:v>
                </c:pt>
                <c:pt idx="125">
                  <c:v>43552</c:v>
                </c:pt>
                <c:pt idx="126">
                  <c:v>43551</c:v>
                </c:pt>
                <c:pt idx="127">
                  <c:v>43550</c:v>
                </c:pt>
                <c:pt idx="128">
                  <c:v>43549</c:v>
                </c:pt>
                <c:pt idx="129">
                  <c:v>43546</c:v>
                </c:pt>
                <c:pt idx="130">
                  <c:v>43545</c:v>
                </c:pt>
                <c:pt idx="131">
                  <c:v>43544</c:v>
                </c:pt>
                <c:pt idx="132">
                  <c:v>43543</c:v>
                </c:pt>
                <c:pt idx="133">
                  <c:v>43542</c:v>
                </c:pt>
                <c:pt idx="134">
                  <c:v>43539</c:v>
                </c:pt>
                <c:pt idx="135">
                  <c:v>43538</c:v>
                </c:pt>
                <c:pt idx="136">
                  <c:v>43537</c:v>
                </c:pt>
                <c:pt idx="137">
                  <c:v>43536</c:v>
                </c:pt>
                <c:pt idx="138">
                  <c:v>43535</c:v>
                </c:pt>
                <c:pt idx="139">
                  <c:v>43532</c:v>
                </c:pt>
                <c:pt idx="140">
                  <c:v>43531</c:v>
                </c:pt>
                <c:pt idx="141">
                  <c:v>43530</c:v>
                </c:pt>
                <c:pt idx="142">
                  <c:v>43529</c:v>
                </c:pt>
                <c:pt idx="143">
                  <c:v>43528</c:v>
                </c:pt>
                <c:pt idx="144">
                  <c:v>43525</c:v>
                </c:pt>
                <c:pt idx="145">
                  <c:v>43524</c:v>
                </c:pt>
                <c:pt idx="146">
                  <c:v>43523</c:v>
                </c:pt>
                <c:pt idx="147">
                  <c:v>43522</c:v>
                </c:pt>
                <c:pt idx="148">
                  <c:v>43521</c:v>
                </c:pt>
                <c:pt idx="149">
                  <c:v>43518</c:v>
                </c:pt>
                <c:pt idx="150">
                  <c:v>43517</c:v>
                </c:pt>
                <c:pt idx="151">
                  <c:v>43516</c:v>
                </c:pt>
                <c:pt idx="152">
                  <c:v>43515</c:v>
                </c:pt>
                <c:pt idx="153">
                  <c:v>43514</c:v>
                </c:pt>
                <c:pt idx="154">
                  <c:v>43511</c:v>
                </c:pt>
                <c:pt idx="155">
                  <c:v>43510</c:v>
                </c:pt>
                <c:pt idx="156">
                  <c:v>43509</c:v>
                </c:pt>
                <c:pt idx="157">
                  <c:v>43508</c:v>
                </c:pt>
                <c:pt idx="158">
                  <c:v>43507</c:v>
                </c:pt>
                <c:pt idx="159">
                  <c:v>43504</c:v>
                </c:pt>
                <c:pt idx="160">
                  <c:v>43503</c:v>
                </c:pt>
                <c:pt idx="161">
                  <c:v>43502</c:v>
                </c:pt>
                <c:pt idx="162">
                  <c:v>43501</c:v>
                </c:pt>
                <c:pt idx="163">
                  <c:v>43500</c:v>
                </c:pt>
                <c:pt idx="164">
                  <c:v>43497</c:v>
                </c:pt>
                <c:pt idx="165">
                  <c:v>43496</c:v>
                </c:pt>
                <c:pt idx="166">
                  <c:v>43495</c:v>
                </c:pt>
                <c:pt idx="167">
                  <c:v>43494</c:v>
                </c:pt>
                <c:pt idx="168">
                  <c:v>43493</c:v>
                </c:pt>
                <c:pt idx="169">
                  <c:v>43490</c:v>
                </c:pt>
                <c:pt idx="170">
                  <c:v>43489</c:v>
                </c:pt>
                <c:pt idx="171">
                  <c:v>43488</c:v>
                </c:pt>
                <c:pt idx="172">
                  <c:v>43487</c:v>
                </c:pt>
                <c:pt idx="173">
                  <c:v>43486</c:v>
                </c:pt>
                <c:pt idx="174">
                  <c:v>43483</c:v>
                </c:pt>
                <c:pt idx="175">
                  <c:v>43482</c:v>
                </c:pt>
                <c:pt idx="176">
                  <c:v>43481</c:v>
                </c:pt>
                <c:pt idx="177">
                  <c:v>43480</c:v>
                </c:pt>
                <c:pt idx="178">
                  <c:v>43479</c:v>
                </c:pt>
                <c:pt idx="179">
                  <c:v>43476</c:v>
                </c:pt>
                <c:pt idx="180">
                  <c:v>43475</c:v>
                </c:pt>
                <c:pt idx="181">
                  <c:v>43474</c:v>
                </c:pt>
                <c:pt idx="182">
                  <c:v>43473</c:v>
                </c:pt>
                <c:pt idx="183">
                  <c:v>43472</c:v>
                </c:pt>
                <c:pt idx="184">
                  <c:v>43469</c:v>
                </c:pt>
                <c:pt idx="185">
                  <c:v>43468</c:v>
                </c:pt>
                <c:pt idx="186">
                  <c:v>43467</c:v>
                </c:pt>
                <c:pt idx="187">
                  <c:v>43462</c:v>
                </c:pt>
                <c:pt idx="188">
                  <c:v>43461</c:v>
                </c:pt>
                <c:pt idx="189">
                  <c:v>43455</c:v>
                </c:pt>
                <c:pt idx="190">
                  <c:v>43454</c:v>
                </c:pt>
                <c:pt idx="191">
                  <c:v>43453</c:v>
                </c:pt>
                <c:pt idx="192">
                  <c:v>43452</c:v>
                </c:pt>
                <c:pt idx="193">
                  <c:v>43451</c:v>
                </c:pt>
                <c:pt idx="194">
                  <c:v>43448</c:v>
                </c:pt>
                <c:pt idx="195">
                  <c:v>43447</c:v>
                </c:pt>
                <c:pt idx="196">
                  <c:v>43446</c:v>
                </c:pt>
                <c:pt idx="197">
                  <c:v>43445</c:v>
                </c:pt>
                <c:pt idx="198">
                  <c:v>43444</c:v>
                </c:pt>
                <c:pt idx="199">
                  <c:v>43441</c:v>
                </c:pt>
                <c:pt idx="200">
                  <c:v>43440</c:v>
                </c:pt>
                <c:pt idx="201">
                  <c:v>43439</c:v>
                </c:pt>
                <c:pt idx="202">
                  <c:v>43438</c:v>
                </c:pt>
                <c:pt idx="203">
                  <c:v>43437</c:v>
                </c:pt>
                <c:pt idx="204">
                  <c:v>43434</c:v>
                </c:pt>
                <c:pt idx="205">
                  <c:v>43433</c:v>
                </c:pt>
                <c:pt idx="206">
                  <c:v>43432</c:v>
                </c:pt>
                <c:pt idx="207">
                  <c:v>43431</c:v>
                </c:pt>
                <c:pt idx="208">
                  <c:v>43430</c:v>
                </c:pt>
                <c:pt idx="209">
                  <c:v>43427</c:v>
                </c:pt>
                <c:pt idx="210">
                  <c:v>43426</c:v>
                </c:pt>
                <c:pt idx="211">
                  <c:v>43425</c:v>
                </c:pt>
                <c:pt idx="212">
                  <c:v>43424</c:v>
                </c:pt>
                <c:pt idx="213">
                  <c:v>43423</c:v>
                </c:pt>
                <c:pt idx="214">
                  <c:v>43420</c:v>
                </c:pt>
                <c:pt idx="215">
                  <c:v>43419</c:v>
                </c:pt>
                <c:pt idx="216">
                  <c:v>43418</c:v>
                </c:pt>
                <c:pt idx="217">
                  <c:v>43417</c:v>
                </c:pt>
                <c:pt idx="218">
                  <c:v>43416</c:v>
                </c:pt>
                <c:pt idx="219">
                  <c:v>43413</c:v>
                </c:pt>
                <c:pt idx="220">
                  <c:v>43412</c:v>
                </c:pt>
                <c:pt idx="221">
                  <c:v>43411</c:v>
                </c:pt>
                <c:pt idx="222">
                  <c:v>43410</c:v>
                </c:pt>
                <c:pt idx="223">
                  <c:v>43409</c:v>
                </c:pt>
                <c:pt idx="224">
                  <c:v>43406</c:v>
                </c:pt>
                <c:pt idx="225">
                  <c:v>43405</c:v>
                </c:pt>
                <c:pt idx="226">
                  <c:v>43404</c:v>
                </c:pt>
                <c:pt idx="227">
                  <c:v>43403</c:v>
                </c:pt>
                <c:pt idx="228">
                  <c:v>43402</c:v>
                </c:pt>
                <c:pt idx="229">
                  <c:v>43399</c:v>
                </c:pt>
                <c:pt idx="230">
                  <c:v>43398</c:v>
                </c:pt>
                <c:pt idx="231">
                  <c:v>43397</c:v>
                </c:pt>
                <c:pt idx="232">
                  <c:v>43396</c:v>
                </c:pt>
                <c:pt idx="233">
                  <c:v>43395</c:v>
                </c:pt>
                <c:pt idx="234">
                  <c:v>43392</c:v>
                </c:pt>
                <c:pt idx="235">
                  <c:v>43391</c:v>
                </c:pt>
                <c:pt idx="236">
                  <c:v>43390</c:v>
                </c:pt>
                <c:pt idx="237">
                  <c:v>43389</c:v>
                </c:pt>
                <c:pt idx="238">
                  <c:v>43388</c:v>
                </c:pt>
                <c:pt idx="239">
                  <c:v>43385</c:v>
                </c:pt>
                <c:pt idx="240">
                  <c:v>43384</c:v>
                </c:pt>
                <c:pt idx="241">
                  <c:v>43383</c:v>
                </c:pt>
                <c:pt idx="242">
                  <c:v>43382</c:v>
                </c:pt>
                <c:pt idx="243">
                  <c:v>43381</c:v>
                </c:pt>
                <c:pt idx="244">
                  <c:v>43378</c:v>
                </c:pt>
                <c:pt idx="245">
                  <c:v>43377</c:v>
                </c:pt>
                <c:pt idx="246">
                  <c:v>43376</c:v>
                </c:pt>
                <c:pt idx="247">
                  <c:v>43375</c:v>
                </c:pt>
                <c:pt idx="248">
                  <c:v>43374</c:v>
                </c:pt>
                <c:pt idx="249">
                  <c:v>43371</c:v>
                </c:pt>
                <c:pt idx="250">
                  <c:v>43370</c:v>
                </c:pt>
                <c:pt idx="251">
                  <c:v>43369</c:v>
                </c:pt>
                <c:pt idx="252">
                  <c:v>43368</c:v>
                </c:pt>
                <c:pt idx="253">
                  <c:v>43367</c:v>
                </c:pt>
                <c:pt idx="254">
                  <c:v>43364</c:v>
                </c:pt>
                <c:pt idx="255">
                  <c:v>43363</c:v>
                </c:pt>
                <c:pt idx="256">
                  <c:v>43362</c:v>
                </c:pt>
                <c:pt idx="257">
                  <c:v>43361</c:v>
                </c:pt>
                <c:pt idx="258">
                  <c:v>43360</c:v>
                </c:pt>
                <c:pt idx="259">
                  <c:v>43357</c:v>
                </c:pt>
                <c:pt idx="260">
                  <c:v>43356</c:v>
                </c:pt>
                <c:pt idx="261">
                  <c:v>43355</c:v>
                </c:pt>
                <c:pt idx="262">
                  <c:v>43354</c:v>
                </c:pt>
                <c:pt idx="263">
                  <c:v>43353</c:v>
                </c:pt>
                <c:pt idx="264">
                  <c:v>43350</c:v>
                </c:pt>
                <c:pt idx="265">
                  <c:v>43349</c:v>
                </c:pt>
                <c:pt idx="266">
                  <c:v>43348</c:v>
                </c:pt>
                <c:pt idx="267">
                  <c:v>43347</c:v>
                </c:pt>
                <c:pt idx="268">
                  <c:v>43346</c:v>
                </c:pt>
                <c:pt idx="269">
                  <c:v>43343</c:v>
                </c:pt>
                <c:pt idx="270">
                  <c:v>43342</c:v>
                </c:pt>
                <c:pt idx="271">
                  <c:v>43341</c:v>
                </c:pt>
                <c:pt idx="272">
                  <c:v>43340</c:v>
                </c:pt>
                <c:pt idx="273">
                  <c:v>43339</c:v>
                </c:pt>
                <c:pt idx="274">
                  <c:v>43336</c:v>
                </c:pt>
                <c:pt idx="275">
                  <c:v>43335</c:v>
                </c:pt>
                <c:pt idx="276">
                  <c:v>43334</c:v>
                </c:pt>
                <c:pt idx="277">
                  <c:v>43333</c:v>
                </c:pt>
                <c:pt idx="278">
                  <c:v>43332</c:v>
                </c:pt>
                <c:pt idx="279">
                  <c:v>43329</c:v>
                </c:pt>
                <c:pt idx="280">
                  <c:v>43328</c:v>
                </c:pt>
                <c:pt idx="281">
                  <c:v>43327</c:v>
                </c:pt>
                <c:pt idx="282">
                  <c:v>43326</c:v>
                </c:pt>
                <c:pt idx="283">
                  <c:v>43325</c:v>
                </c:pt>
                <c:pt idx="284">
                  <c:v>43322</c:v>
                </c:pt>
                <c:pt idx="285">
                  <c:v>43321</c:v>
                </c:pt>
                <c:pt idx="286">
                  <c:v>43320</c:v>
                </c:pt>
                <c:pt idx="287">
                  <c:v>43319</c:v>
                </c:pt>
                <c:pt idx="288">
                  <c:v>43318</c:v>
                </c:pt>
                <c:pt idx="289">
                  <c:v>43315</c:v>
                </c:pt>
                <c:pt idx="290">
                  <c:v>43314</c:v>
                </c:pt>
                <c:pt idx="291">
                  <c:v>43313</c:v>
                </c:pt>
                <c:pt idx="292">
                  <c:v>43312</c:v>
                </c:pt>
                <c:pt idx="293">
                  <c:v>43311</c:v>
                </c:pt>
                <c:pt idx="294">
                  <c:v>43308</c:v>
                </c:pt>
                <c:pt idx="295">
                  <c:v>43307</c:v>
                </c:pt>
                <c:pt idx="296">
                  <c:v>43306</c:v>
                </c:pt>
                <c:pt idx="297">
                  <c:v>43305</c:v>
                </c:pt>
                <c:pt idx="298">
                  <c:v>43304</c:v>
                </c:pt>
                <c:pt idx="299">
                  <c:v>43301</c:v>
                </c:pt>
                <c:pt idx="300">
                  <c:v>43300</c:v>
                </c:pt>
                <c:pt idx="301">
                  <c:v>43299</c:v>
                </c:pt>
                <c:pt idx="302">
                  <c:v>43298</c:v>
                </c:pt>
                <c:pt idx="303">
                  <c:v>43297</c:v>
                </c:pt>
                <c:pt idx="304">
                  <c:v>43294</c:v>
                </c:pt>
                <c:pt idx="305">
                  <c:v>43293</c:v>
                </c:pt>
                <c:pt idx="306">
                  <c:v>43292</c:v>
                </c:pt>
                <c:pt idx="307">
                  <c:v>43291</c:v>
                </c:pt>
                <c:pt idx="308">
                  <c:v>43290</c:v>
                </c:pt>
                <c:pt idx="309">
                  <c:v>43287</c:v>
                </c:pt>
                <c:pt idx="310">
                  <c:v>43286</c:v>
                </c:pt>
                <c:pt idx="311">
                  <c:v>43285</c:v>
                </c:pt>
                <c:pt idx="312">
                  <c:v>43284</c:v>
                </c:pt>
                <c:pt idx="313">
                  <c:v>43283</c:v>
                </c:pt>
                <c:pt idx="314">
                  <c:v>43280</c:v>
                </c:pt>
                <c:pt idx="315">
                  <c:v>43279</c:v>
                </c:pt>
                <c:pt idx="316">
                  <c:v>43278</c:v>
                </c:pt>
                <c:pt idx="317">
                  <c:v>43277</c:v>
                </c:pt>
                <c:pt idx="318">
                  <c:v>43276</c:v>
                </c:pt>
                <c:pt idx="319">
                  <c:v>43273</c:v>
                </c:pt>
                <c:pt idx="320">
                  <c:v>43272</c:v>
                </c:pt>
                <c:pt idx="321">
                  <c:v>43271</c:v>
                </c:pt>
                <c:pt idx="322">
                  <c:v>43270</c:v>
                </c:pt>
                <c:pt idx="323">
                  <c:v>43269</c:v>
                </c:pt>
                <c:pt idx="324">
                  <c:v>43266</c:v>
                </c:pt>
                <c:pt idx="325">
                  <c:v>43265</c:v>
                </c:pt>
                <c:pt idx="326">
                  <c:v>43264</c:v>
                </c:pt>
                <c:pt idx="327">
                  <c:v>43263</c:v>
                </c:pt>
                <c:pt idx="328">
                  <c:v>43262</c:v>
                </c:pt>
                <c:pt idx="329">
                  <c:v>43259</c:v>
                </c:pt>
                <c:pt idx="330">
                  <c:v>43258</c:v>
                </c:pt>
                <c:pt idx="331">
                  <c:v>43257</c:v>
                </c:pt>
                <c:pt idx="332">
                  <c:v>43256</c:v>
                </c:pt>
                <c:pt idx="333">
                  <c:v>43255</c:v>
                </c:pt>
                <c:pt idx="334">
                  <c:v>43252</c:v>
                </c:pt>
                <c:pt idx="335">
                  <c:v>43251</c:v>
                </c:pt>
                <c:pt idx="336">
                  <c:v>43250</c:v>
                </c:pt>
                <c:pt idx="337">
                  <c:v>43249</c:v>
                </c:pt>
                <c:pt idx="338">
                  <c:v>43248</c:v>
                </c:pt>
                <c:pt idx="339">
                  <c:v>43245</c:v>
                </c:pt>
                <c:pt idx="340">
                  <c:v>43244</c:v>
                </c:pt>
                <c:pt idx="341">
                  <c:v>43243</c:v>
                </c:pt>
                <c:pt idx="342">
                  <c:v>43242</c:v>
                </c:pt>
                <c:pt idx="343">
                  <c:v>43238</c:v>
                </c:pt>
                <c:pt idx="344">
                  <c:v>43236</c:v>
                </c:pt>
                <c:pt idx="345">
                  <c:v>43235</c:v>
                </c:pt>
                <c:pt idx="346">
                  <c:v>43234</c:v>
                </c:pt>
                <c:pt idx="347">
                  <c:v>43231</c:v>
                </c:pt>
                <c:pt idx="348">
                  <c:v>43229</c:v>
                </c:pt>
                <c:pt idx="349">
                  <c:v>43228</c:v>
                </c:pt>
                <c:pt idx="350">
                  <c:v>43227</c:v>
                </c:pt>
                <c:pt idx="351">
                  <c:v>43224</c:v>
                </c:pt>
                <c:pt idx="352">
                  <c:v>43223</c:v>
                </c:pt>
                <c:pt idx="353">
                  <c:v>43222</c:v>
                </c:pt>
                <c:pt idx="354">
                  <c:v>43220</c:v>
                </c:pt>
                <c:pt idx="355">
                  <c:v>43217</c:v>
                </c:pt>
                <c:pt idx="356">
                  <c:v>43216</c:v>
                </c:pt>
                <c:pt idx="357">
                  <c:v>43215</c:v>
                </c:pt>
                <c:pt idx="358">
                  <c:v>43214</c:v>
                </c:pt>
                <c:pt idx="359">
                  <c:v>43213</c:v>
                </c:pt>
                <c:pt idx="360">
                  <c:v>43210</c:v>
                </c:pt>
                <c:pt idx="361">
                  <c:v>43209</c:v>
                </c:pt>
                <c:pt idx="362">
                  <c:v>43208</c:v>
                </c:pt>
                <c:pt idx="363">
                  <c:v>43207</c:v>
                </c:pt>
                <c:pt idx="364">
                  <c:v>43206</c:v>
                </c:pt>
                <c:pt idx="365">
                  <c:v>43203</c:v>
                </c:pt>
                <c:pt idx="366">
                  <c:v>43202</c:v>
                </c:pt>
                <c:pt idx="367">
                  <c:v>43201</c:v>
                </c:pt>
                <c:pt idx="368">
                  <c:v>43200</c:v>
                </c:pt>
                <c:pt idx="369">
                  <c:v>43199</c:v>
                </c:pt>
                <c:pt idx="370">
                  <c:v>43196</c:v>
                </c:pt>
                <c:pt idx="371">
                  <c:v>43195</c:v>
                </c:pt>
                <c:pt idx="372">
                  <c:v>43194</c:v>
                </c:pt>
                <c:pt idx="373">
                  <c:v>43193</c:v>
                </c:pt>
                <c:pt idx="374">
                  <c:v>43187</c:v>
                </c:pt>
                <c:pt idx="375">
                  <c:v>43186</c:v>
                </c:pt>
                <c:pt idx="376">
                  <c:v>43185</c:v>
                </c:pt>
                <c:pt idx="377">
                  <c:v>43182</c:v>
                </c:pt>
                <c:pt idx="378">
                  <c:v>43181</c:v>
                </c:pt>
                <c:pt idx="379">
                  <c:v>43180</c:v>
                </c:pt>
                <c:pt idx="380">
                  <c:v>43179</c:v>
                </c:pt>
                <c:pt idx="381">
                  <c:v>43178</c:v>
                </c:pt>
                <c:pt idx="382">
                  <c:v>43175</c:v>
                </c:pt>
                <c:pt idx="383">
                  <c:v>43174</c:v>
                </c:pt>
                <c:pt idx="384">
                  <c:v>43173</c:v>
                </c:pt>
                <c:pt idx="385">
                  <c:v>43172</c:v>
                </c:pt>
                <c:pt idx="386">
                  <c:v>43171</c:v>
                </c:pt>
                <c:pt idx="387">
                  <c:v>43168</c:v>
                </c:pt>
                <c:pt idx="388">
                  <c:v>43167</c:v>
                </c:pt>
                <c:pt idx="389">
                  <c:v>43166</c:v>
                </c:pt>
                <c:pt idx="390">
                  <c:v>43165</c:v>
                </c:pt>
                <c:pt idx="391">
                  <c:v>43164</c:v>
                </c:pt>
                <c:pt idx="392">
                  <c:v>43161</c:v>
                </c:pt>
                <c:pt idx="393">
                  <c:v>43160</c:v>
                </c:pt>
                <c:pt idx="394">
                  <c:v>43159</c:v>
                </c:pt>
                <c:pt idx="395">
                  <c:v>43158</c:v>
                </c:pt>
                <c:pt idx="396">
                  <c:v>43157</c:v>
                </c:pt>
                <c:pt idx="397">
                  <c:v>43154</c:v>
                </c:pt>
                <c:pt idx="398">
                  <c:v>43153</c:v>
                </c:pt>
                <c:pt idx="399">
                  <c:v>43152</c:v>
                </c:pt>
                <c:pt idx="400">
                  <c:v>43151</c:v>
                </c:pt>
                <c:pt idx="401">
                  <c:v>43150</c:v>
                </c:pt>
                <c:pt idx="402">
                  <c:v>43147</c:v>
                </c:pt>
                <c:pt idx="403">
                  <c:v>43146</c:v>
                </c:pt>
                <c:pt idx="404">
                  <c:v>43145</c:v>
                </c:pt>
                <c:pt idx="405">
                  <c:v>43144</c:v>
                </c:pt>
                <c:pt idx="406">
                  <c:v>43143</c:v>
                </c:pt>
                <c:pt idx="407">
                  <c:v>43140</c:v>
                </c:pt>
                <c:pt idx="408">
                  <c:v>43139</c:v>
                </c:pt>
                <c:pt idx="409">
                  <c:v>43138</c:v>
                </c:pt>
                <c:pt idx="410">
                  <c:v>43137</c:v>
                </c:pt>
                <c:pt idx="411">
                  <c:v>43136</c:v>
                </c:pt>
                <c:pt idx="412">
                  <c:v>43133</c:v>
                </c:pt>
                <c:pt idx="413">
                  <c:v>43132</c:v>
                </c:pt>
                <c:pt idx="414">
                  <c:v>43131</c:v>
                </c:pt>
                <c:pt idx="415">
                  <c:v>43130</c:v>
                </c:pt>
                <c:pt idx="416">
                  <c:v>43129</c:v>
                </c:pt>
                <c:pt idx="417">
                  <c:v>43126</c:v>
                </c:pt>
                <c:pt idx="418">
                  <c:v>43125</c:v>
                </c:pt>
                <c:pt idx="419">
                  <c:v>43124</c:v>
                </c:pt>
                <c:pt idx="420">
                  <c:v>43123</c:v>
                </c:pt>
                <c:pt idx="421">
                  <c:v>43122</c:v>
                </c:pt>
                <c:pt idx="422">
                  <c:v>43119</c:v>
                </c:pt>
                <c:pt idx="423">
                  <c:v>43118</c:v>
                </c:pt>
                <c:pt idx="424">
                  <c:v>43117</c:v>
                </c:pt>
                <c:pt idx="425">
                  <c:v>43116</c:v>
                </c:pt>
                <c:pt idx="426">
                  <c:v>43115</c:v>
                </c:pt>
                <c:pt idx="427">
                  <c:v>43112</c:v>
                </c:pt>
                <c:pt idx="428">
                  <c:v>43111</c:v>
                </c:pt>
                <c:pt idx="429">
                  <c:v>43110</c:v>
                </c:pt>
                <c:pt idx="430">
                  <c:v>43109</c:v>
                </c:pt>
                <c:pt idx="431">
                  <c:v>43108</c:v>
                </c:pt>
                <c:pt idx="432">
                  <c:v>43105</c:v>
                </c:pt>
                <c:pt idx="433">
                  <c:v>43104</c:v>
                </c:pt>
                <c:pt idx="434">
                  <c:v>43103</c:v>
                </c:pt>
                <c:pt idx="435">
                  <c:v>43102</c:v>
                </c:pt>
                <c:pt idx="436">
                  <c:v>43098</c:v>
                </c:pt>
                <c:pt idx="437">
                  <c:v>43097</c:v>
                </c:pt>
                <c:pt idx="438">
                  <c:v>43096</c:v>
                </c:pt>
                <c:pt idx="439">
                  <c:v>43091</c:v>
                </c:pt>
                <c:pt idx="440">
                  <c:v>43090</c:v>
                </c:pt>
                <c:pt idx="441">
                  <c:v>43089</c:v>
                </c:pt>
                <c:pt idx="442">
                  <c:v>43088</c:v>
                </c:pt>
                <c:pt idx="443">
                  <c:v>43087</c:v>
                </c:pt>
                <c:pt idx="444">
                  <c:v>43084</c:v>
                </c:pt>
                <c:pt idx="445">
                  <c:v>43083</c:v>
                </c:pt>
                <c:pt idx="446">
                  <c:v>43082</c:v>
                </c:pt>
                <c:pt idx="447">
                  <c:v>43081</c:v>
                </c:pt>
                <c:pt idx="448">
                  <c:v>43080</c:v>
                </c:pt>
                <c:pt idx="449">
                  <c:v>43077</c:v>
                </c:pt>
                <c:pt idx="450">
                  <c:v>43076</c:v>
                </c:pt>
                <c:pt idx="451">
                  <c:v>43075</c:v>
                </c:pt>
                <c:pt idx="452">
                  <c:v>43074</c:v>
                </c:pt>
                <c:pt idx="453">
                  <c:v>43073</c:v>
                </c:pt>
                <c:pt idx="454">
                  <c:v>43070</c:v>
                </c:pt>
                <c:pt idx="455">
                  <c:v>43069</c:v>
                </c:pt>
                <c:pt idx="456">
                  <c:v>43068</c:v>
                </c:pt>
                <c:pt idx="457">
                  <c:v>43067</c:v>
                </c:pt>
                <c:pt idx="458">
                  <c:v>43066</c:v>
                </c:pt>
                <c:pt idx="459">
                  <c:v>43063</c:v>
                </c:pt>
                <c:pt idx="460">
                  <c:v>43062</c:v>
                </c:pt>
                <c:pt idx="461">
                  <c:v>43061</c:v>
                </c:pt>
                <c:pt idx="462">
                  <c:v>43060</c:v>
                </c:pt>
                <c:pt idx="463">
                  <c:v>43059</c:v>
                </c:pt>
                <c:pt idx="464">
                  <c:v>43056</c:v>
                </c:pt>
                <c:pt idx="465">
                  <c:v>43055</c:v>
                </c:pt>
                <c:pt idx="466">
                  <c:v>43054</c:v>
                </c:pt>
                <c:pt idx="467">
                  <c:v>43053</c:v>
                </c:pt>
                <c:pt idx="468">
                  <c:v>43052</c:v>
                </c:pt>
                <c:pt idx="469">
                  <c:v>43049</c:v>
                </c:pt>
                <c:pt idx="470">
                  <c:v>43048</c:v>
                </c:pt>
                <c:pt idx="471">
                  <c:v>43047</c:v>
                </c:pt>
                <c:pt idx="472">
                  <c:v>43046</c:v>
                </c:pt>
                <c:pt idx="473">
                  <c:v>43045</c:v>
                </c:pt>
                <c:pt idx="474">
                  <c:v>43042</c:v>
                </c:pt>
                <c:pt idx="475">
                  <c:v>43041</c:v>
                </c:pt>
                <c:pt idx="476">
                  <c:v>43040</c:v>
                </c:pt>
                <c:pt idx="477">
                  <c:v>43039</c:v>
                </c:pt>
                <c:pt idx="478">
                  <c:v>43038</c:v>
                </c:pt>
                <c:pt idx="479">
                  <c:v>43035</c:v>
                </c:pt>
                <c:pt idx="480">
                  <c:v>43034</c:v>
                </c:pt>
                <c:pt idx="481">
                  <c:v>43033</c:v>
                </c:pt>
                <c:pt idx="482">
                  <c:v>43032</c:v>
                </c:pt>
                <c:pt idx="483">
                  <c:v>43031</c:v>
                </c:pt>
                <c:pt idx="484">
                  <c:v>43028</c:v>
                </c:pt>
                <c:pt idx="485">
                  <c:v>43027</c:v>
                </c:pt>
                <c:pt idx="486">
                  <c:v>43026</c:v>
                </c:pt>
                <c:pt idx="487">
                  <c:v>43025</c:v>
                </c:pt>
                <c:pt idx="488">
                  <c:v>43024</c:v>
                </c:pt>
                <c:pt idx="489">
                  <c:v>43021</c:v>
                </c:pt>
                <c:pt idx="490">
                  <c:v>43020</c:v>
                </c:pt>
                <c:pt idx="491">
                  <c:v>43019</c:v>
                </c:pt>
                <c:pt idx="492">
                  <c:v>43018</c:v>
                </c:pt>
                <c:pt idx="493">
                  <c:v>43017</c:v>
                </c:pt>
                <c:pt idx="494">
                  <c:v>43014</c:v>
                </c:pt>
                <c:pt idx="495">
                  <c:v>43013</c:v>
                </c:pt>
                <c:pt idx="496">
                  <c:v>43012</c:v>
                </c:pt>
                <c:pt idx="497">
                  <c:v>43011</c:v>
                </c:pt>
                <c:pt idx="498">
                  <c:v>43010</c:v>
                </c:pt>
                <c:pt idx="499">
                  <c:v>43007</c:v>
                </c:pt>
                <c:pt idx="500">
                  <c:v>43006</c:v>
                </c:pt>
                <c:pt idx="501">
                  <c:v>43005</c:v>
                </c:pt>
                <c:pt idx="502">
                  <c:v>43004</c:v>
                </c:pt>
                <c:pt idx="503">
                  <c:v>43003</c:v>
                </c:pt>
                <c:pt idx="504">
                  <c:v>43000</c:v>
                </c:pt>
                <c:pt idx="505">
                  <c:v>42999</c:v>
                </c:pt>
                <c:pt idx="506">
                  <c:v>42998</c:v>
                </c:pt>
                <c:pt idx="507">
                  <c:v>42997</c:v>
                </c:pt>
                <c:pt idx="508">
                  <c:v>42996</c:v>
                </c:pt>
                <c:pt idx="509">
                  <c:v>42993</c:v>
                </c:pt>
                <c:pt idx="510">
                  <c:v>42992</c:v>
                </c:pt>
                <c:pt idx="511">
                  <c:v>42991</c:v>
                </c:pt>
                <c:pt idx="512">
                  <c:v>42990</c:v>
                </c:pt>
                <c:pt idx="513">
                  <c:v>42989</c:v>
                </c:pt>
                <c:pt idx="514">
                  <c:v>42986</c:v>
                </c:pt>
                <c:pt idx="515">
                  <c:v>42985</c:v>
                </c:pt>
                <c:pt idx="516">
                  <c:v>42984</c:v>
                </c:pt>
                <c:pt idx="517">
                  <c:v>42983</c:v>
                </c:pt>
                <c:pt idx="518">
                  <c:v>42982</c:v>
                </c:pt>
                <c:pt idx="519">
                  <c:v>42979</c:v>
                </c:pt>
                <c:pt idx="520">
                  <c:v>42978</c:v>
                </c:pt>
                <c:pt idx="521">
                  <c:v>42977</c:v>
                </c:pt>
                <c:pt idx="522">
                  <c:v>42976</c:v>
                </c:pt>
                <c:pt idx="523">
                  <c:v>42975</c:v>
                </c:pt>
                <c:pt idx="524">
                  <c:v>42972</c:v>
                </c:pt>
                <c:pt idx="525">
                  <c:v>42971</c:v>
                </c:pt>
                <c:pt idx="526">
                  <c:v>42970</c:v>
                </c:pt>
                <c:pt idx="527">
                  <c:v>42969</c:v>
                </c:pt>
                <c:pt idx="528">
                  <c:v>42968</c:v>
                </c:pt>
                <c:pt idx="529">
                  <c:v>42965</c:v>
                </c:pt>
                <c:pt idx="530">
                  <c:v>42964</c:v>
                </c:pt>
                <c:pt idx="531">
                  <c:v>42963</c:v>
                </c:pt>
                <c:pt idx="532">
                  <c:v>42962</c:v>
                </c:pt>
                <c:pt idx="533">
                  <c:v>42961</c:v>
                </c:pt>
                <c:pt idx="534">
                  <c:v>42958</c:v>
                </c:pt>
                <c:pt idx="535">
                  <c:v>42957</c:v>
                </c:pt>
                <c:pt idx="536">
                  <c:v>42956</c:v>
                </c:pt>
                <c:pt idx="537">
                  <c:v>42955</c:v>
                </c:pt>
                <c:pt idx="538">
                  <c:v>42954</c:v>
                </c:pt>
                <c:pt idx="539">
                  <c:v>42951</c:v>
                </c:pt>
                <c:pt idx="540">
                  <c:v>42950</c:v>
                </c:pt>
                <c:pt idx="541">
                  <c:v>42949</c:v>
                </c:pt>
                <c:pt idx="542">
                  <c:v>42948</c:v>
                </c:pt>
                <c:pt idx="543">
                  <c:v>42947</c:v>
                </c:pt>
                <c:pt idx="544">
                  <c:v>42944</c:v>
                </c:pt>
                <c:pt idx="545">
                  <c:v>42943</c:v>
                </c:pt>
                <c:pt idx="546">
                  <c:v>42942</c:v>
                </c:pt>
                <c:pt idx="547">
                  <c:v>42941</c:v>
                </c:pt>
                <c:pt idx="548">
                  <c:v>42940</c:v>
                </c:pt>
                <c:pt idx="549">
                  <c:v>42937</c:v>
                </c:pt>
                <c:pt idx="550">
                  <c:v>42936</c:v>
                </c:pt>
                <c:pt idx="551">
                  <c:v>42935</c:v>
                </c:pt>
                <c:pt idx="552">
                  <c:v>42934</c:v>
                </c:pt>
                <c:pt idx="553">
                  <c:v>42933</c:v>
                </c:pt>
                <c:pt idx="554">
                  <c:v>42930</c:v>
                </c:pt>
                <c:pt idx="555">
                  <c:v>42929</c:v>
                </c:pt>
                <c:pt idx="556">
                  <c:v>42928</c:v>
                </c:pt>
                <c:pt idx="557">
                  <c:v>42927</c:v>
                </c:pt>
                <c:pt idx="558">
                  <c:v>42926</c:v>
                </c:pt>
                <c:pt idx="559">
                  <c:v>42923</c:v>
                </c:pt>
                <c:pt idx="560">
                  <c:v>42922</c:v>
                </c:pt>
                <c:pt idx="561">
                  <c:v>42921</c:v>
                </c:pt>
                <c:pt idx="562">
                  <c:v>42920</c:v>
                </c:pt>
                <c:pt idx="563">
                  <c:v>42919</c:v>
                </c:pt>
                <c:pt idx="564">
                  <c:v>42916</c:v>
                </c:pt>
                <c:pt idx="565">
                  <c:v>42915</c:v>
                </c:pt>
                <c:pt idx="566">
                  <c:v>42914</c:v>
                </c:pt>
                <c:pt idx="567">
                  <c:v>42913</c:v>
                </c:pt>
                <c:pt idx="568">
                  <c:v>42912</c:v>
                </c:pt>
                <c:pt idx="569">
                  <c:v>42909</c:v>
                </c:pt>
                <c:pt idx="570">
                  <c:v>42908</c:v>
                </c:pt>
                <c:pt idx="571">
                  <c:v>42907</c:v>
                </c:pt>
                <c:pt idx="572">
                  <c:v>42906</c:v>
                </c:pt>
                <c:pt idx="573">
                  <c:v>42905</c:v>
                </c:pt>
                <c:pt idx="574">
                  <c:v>42902</c:v>
                </c:pt>
                <c:pt idx="575">
                  <c:v>42901</c:v>
                </c:pt>
                <c:pt idx="576">
                  <c:v>42900</c:v>
                </c:pt>
                <c:pt idx="577">
                  <c:v>42899</c:v>
                </c:pt>
                <c:pt idx="578">
                  <c:v>42898</c:v>
                </c:pt>
                <c:pt idx="579">
                  <c:v>42895</c:v>
                </c:pt>
                <c:pt idx="580">
                  <c:v>42894</c:v>
                </c:pt>
                <c:pt idx="581">
                  <c:v>42893</c:v>
                </c:pt>
                <c:pt idx="582">
                  <c:v>42892</c:v>
                </c:pt>
                <c:pt idx="583">
                  <c:v>42888</c:v>
                </c:pt>
                <c:pt idx="584">
                  <c:v>42887</c:v>
                </c:pt>
                <c:pt idx="585">
                  <c:v>42886</c:v>
                </c:pt>
                <c:pt idx="586">
                  <c:v>42885</c:v>
                </c:pt>
                <c:pt idx="587">
                  <c:v>42884</c:v>
                </c:pt>
                <c:pt idx="588">
                  <c:v>42881</c:v>
                </c:pt>
                <c:pt idx="589">
                  <c:v>42879</c:v>
                </c:pt>
                <c:pt idx="590">
                  <c:v>42878</c:v>
                </c:pt>
                <c:pt idx="591">
                  <c:v>42877</c:v>
                </c:pt>
                <c:pt idx="592">
                  <c:v>42874</c:v>
                </c:pt>
                <c:pt idx="593">
                  <c:v>42873</c:v>
                </c:pt>
                <c:pt idx="594">
                  <c:v>42871</c:v>
                </c:pt>
                <c:pt idx="595">
                  <c:v>42870</c:v>
                </c:pt>
                <c:pt idx="596">
                  <c:v>42867</c:v>
                </c:pt>
                <c:pt idx="597">
                  <c:v>42866</c:v>
                </c:pt>
                <c:pt idx="598">
                  <c:v>42865</c:v>
                </c:pt>
                <c:pt idx="599">
                  <c:v>42864</c:v>
                </c:pt>
                <c:pt idx="600">
                  <c:v>42863</c:v>
                </c:pt>
                <c:pt idx="601">
                  <c:v>42860</c:v>
                </c:pt>
                <c:pt idx="602">
                  <c:v>42859</c:v>
                </c:pt>
                <c:pt idx="603">
                  <c:v>42858</c:v>
                </c:pt>
                <c:pt idx="604">
                  <c:v>42857</c:v>
                </c:pt>
                <c:pt idx="605">
                  <c:v>42853</c:v>
                </c:pt>
                <c:pt idx="606">
                  <c:v>42852</c:v>
                </c:pt>
                <c:pt idx="607">
                  <c:v>42851</c:v>
                </c:pt>
                <c:pt idx="608">
                  <c:v>42850</c:v>
                </c:pt>
                <c:pt idx="609">
                  <c:v>42849</c:v>
                </c:pt>
                <c:pt idx="610">
                  <c:v>42846</c:v>
                </c:pt>
                <c:pt idx="611">
                  <c:v>42845</c:v>
                </c:pt>
                <c:pt idx="612">
                  <c:v>42844</c:v>
                </c:pt>
                <c:pt idx="613">
                  <c:v>42843</c:v>
                </c:pt>
                <c:pt idx="614">
                  <c:v>42837</c:v>
                </c:pt>
                <c:pt idx="615">
                  <c:v>42836</c:v>
                </c:pt>
                <c:pt idx="616">
                  <c:v>42835</c:v>
                </c:pt>
                <c:pt idx="617">
                  <c:v>42832</c:v>
                </c:pt>
                <c:pt idx="618">
                  <c:v>42831</c:v>
                </c:pt>
                <c:pt idx="619">
                  <c:v>42830</c:v>
                </c:pt>
                <c:pt idx="620">
                  <c:v>42829</c:v>
                </c:pt>
                <c:pt idx="621">
                  <c:v>42828</c:v>
                </c:pt>
                <c:pt idx="622">
                  <c:v>42825</c:v>
                </c:pt>
                <c:pt idx="623">
                  <c:v>42824</c:v>
                </c:pt>
                <c:pt idx="624">
                  <c:v>42823</c:v>
                </c:pt>
                <c:pt idx="625">
                  <c:v>42822</c:v>
                </c:pt>
                <c:pt idx="626">
                  <c:v>42821</c:v>
                </c:pt>
                <c:pt idx="627">
                  <c:v>42818</c:v>
                </c:pt>
                <c:pt idx="628">
                  <c:v>42817</c:v>
                </c:pt>
                <c:pt idx="629">
                  <c:v>42816</c:v>
                </c:pt>
                <c:pt idx="630">
                  <c:v>42815</c:v>
                </c:pt>
                <c:pt idx="631">
                  <c:v>42814</c:v>
                </c:pt>
                <c:pt idx="632">
                  <c:v>42811</c:v>
                </c:pt>
                <c:pt idx="633">
                  <c:v>42810</c:v>
                </c:pt>
                <c:pt idx="634">
                  <c:v>42809</c:v>
                </c:pt>
                <c:pt idx="635">
                  <c:v>42808</c:v>
                </c:pt>
                <c:pt idx="636">
                  <c:v>42807</c:v>
                </c:pt>
                <c:pt idx="637">
                  <c:v>42804</c:v>
                </c:pt>
                <c:pt idx="638">
                  <c:v>42803</c:v>
                </c:pt>
                <c:pt idx="639">
                  <c:v>42802</c:v>
                </c:pt>
                <c:pt idx="640">
                  <c:v>42801</c:v>
                </c:pt>
                <c:pt idx="641">
                  <c:v>42800</c:v>
                </c:pt>
                <c:pt idx="642">
                  <c:v>42797</c:v>
                </c:pt>
                <c:pt idx="643">
                  <c:v>42796</c:v>
                </c:pt>
                <c:pt idx="644">
                  <c:v>42795</c:v>
                </c:pt>
                <c:pt idx="645">
                  <c:v>42794</c:v>
                </c:pt>
                <c:pt idx="646">
                  <c:v>42793</c:v>
                </c:pt>
                <c:pt idx="647">
                  <c:v>42790</c:v>
                </c:pt>
                <c:pt idx="648">
                  <c:v>42789</c:v>
                </c:pt>
                <c:pt idx="649">
                  <c:v>42788</c:v>
                </c:pt>
                <c:pt idx="650">
                  <c:v>42787</c:v>
                </c:pt>
                <c:pt idx="651">
                  <c:v>42786</c:v>
                </c:pt>
                <c:pt idx="652">
                  <c:v>42783</c:v>
                </c:pt>
                <c:pt idx="653">
                  <c:v>42782</c:v>
                </c:pt>
                <c:pt idx="654">
                  <c:v>42781</c:v>
                </c:pt>
                <c:pt idx="655">
                  <c:v>42780</c:v>
                </c:pt>
                <c:pt idx="656">
                  <c:v>42779</c:v>
                </c:pt>
                <c:pt idx="657">
                  <c:v>42776</c:v>
                </c:pt>
                <c:pt idx="658">
                  <c:v>42775</c:v>
                </c:pt>
                <c:pt idx="659">
                  <c:v>42774</c:v>
                </c:pt>
                <c:pt idx="660">
                  <c:v>42773</c:v>
                </c:pt>
                <c:pt idx="661">
                  <c:v>42772</c:v>
                </c:pt>
                <c:pt idx="662">
                  <c:v>42769</c:v>
                </c:pt>
                <c:pt idx="663">
                  <c:v>42768</c:v>
                </c:pt>
                <c:pt idx="664">
                  <c:v>42767</c:v>
                </c:pt>
                <c:pt idx="665">
                  <c:v>42766</c:v>
                </c:pt>
                <c:pt idx="666">
                  <c:v>42765</c:v>
                </c:pt>
                <c:pt idx="667">
                  <c:v>42762</c:v>
                </c:pt>
                <c:pt idx="668">
                  <c:v>42761</c:v>
                </c:pt>
                <c:pt idx="669">
                  <c:v>42760</c:v>
                </c:pt>
                <c:pt idx="670">
                  <c:v>42759</c:v>
                </c:pt>
                <c:pt idx="671">
                  <c:v>42758</c:v>
                </c:pt>
                <c:pt idx="672">
                  <c:v>42755</c:v>
                </c:pt>
                <c:pt idx="673">
                  <c:v>42754</c:v>
                </c:pt>
                <c:pt idx="674">
                  <c:v>42753</c:v>
                </c:pt>
                <c:pt idx="675">
                  <c:v>42752</c:v>
                </c:pt>
                <c:pt idx="676">
                  <c:v>42751</c:v>
                </c:pt>
                <c:pt idx="677">
                  <c:v>42748</c:v>
                </c:pt>
                <c:pt idx="678">
                  <c:v>42747</c:v>
                </c:pt>
                <c:pt idx="679">
                  <c:v>42746</c:v>
                </c:pt>
                <c:pt idx="680">
                  <c:v>42745</c:v>
                </c:pt>
                <c:pt idx="681">
                  <c:v>42744</c:v>
                </c:pt>
                <c:pt idx="682">
                  <c:v>42741</c:v>
                </c:pt>
                <c:pt idx="683">
                  <c:v>42740</c:v>
                </c:pt>
                <c:pt idx="684">
                  <c:v>42739</c:v>
                </c:pt>
                <c:pt idx="685">
                  <c:v>42738</c:v>
                </c:pt>
                <c:pt idx="686">
                  <c:v>42737</c:v>
                </c:pt>
                <c:pt idx="687">
                  <c:v>42734</c:v>
                </c:pt>
                <c:pt idx="688">
                  <c:v>42733</c:v>
                </c:pt>
                <c:pt idx="689">
                  <c:v>42732</c:v>
                </c:pt>
                <c:pt idx="690">
                  <c:v>42731</c:v>
                </c:pt>
                <c:pt idx="691">
                  <c:v>42727</c:v>
                </c:pt>
                <c:pt idx="692">
                  <c:v>42726</c:v>
                </c:pt>
                <c:pt idx="693">
                  <c:v>42725</c:v>
                </c:pt>
                <c:pt idx="694">
                  <c:v>42724</c:v>
                </c:pt>
                <c:pt idx="695">
                  <c:v>42723</c:v>
                </c:pt>
                <c:pt idx="696">
                  <c:v>42720</c:v>
                </c:pt>
                <c:pt idx="697">
                  <c:v>42719</c:v>
                </c:pt>
                <c:pt idx="698">
                  <c:v>42718</c:v>
                </c:pt>
                <c:pt idx="699">
                  <c:v>42717</c:v>
                </c:pt>
                <c:pt idx="700">
                  <c:v>42716</c:v>
                </c:pt>
                <c:pt idx="701">
                  <c:v>42713</c:v>
                </c:pt>
                <c:pt idx="702">
                  <c:v>42712</c:v>
                </c:pt>
                <c:pt idx="703">
                  <c:v>42711</c:v>
                </c:pt>
                <c:pt idx="704">
                  <c:v>42710</c:v>
                </c:pt>
                <c:pt idx="705">
                  <c:v>42709</c:v>
                </c:pt>
                <c:pt idx="706">
                  <c:v>42706</c:v>
                </c:pt>
                <c:pt idx="707">
                  <c:v>42705</c:v>
                </c:pt>
                <c:pt idx="708">
                  <c:v>42704</c:v>
                </c:pt>
                <c:pt idx="709">
                  <c:v>42703</c:v>
                </c:pt>
                <c:pt idx="710">
                  <c:v>42702</c:v>
                </c:pt>
                <c:pt idx="711">
                  <c:v>42699</c:v>
                </c:pt>
                <c:pt idx="712">
                  <c:v>42698</c:v>
                </c:pt>
                <c:pt idx="713">
                  <c:v>42697</c:v>
                </c:pt>
                <c:pt idx="714">
                  <c:v>42696</c:v>
                </c:pt>
                <c:pt idx="715">
                  <c:v>42695</c:v>
                </c:pt>
                <c:pt idx="716">
                  <c:v>42692</c:v>
                </c:pt>
                <c:pt idx="717">
                  <c:v>42691</c:v>
                </c:pt>
                <c:pt idx="718">
                  <c:v>42690</c:v>
                </c:pt>
                <c:pt idx="719">
                  <c:v>42689</c:v>
                </c:pt>
                <c:pt idx="720">
                  <c:v>42688</c:v>
                </c:pt>
                <c:pt idx="721">
                  <c:v>42685</c:v>
                </c:pt>
                <c:pt idx="722">
                  <c:v>42684</c:v>
                </c:pt>
                <c:pt idx="723">
                  <c:v>42683</c:v>
                </c:pt>
                <c:pt idx="724">
                  <c:v>42682</c:v>
                </c:pt>
                <c:pt idx="725">
                  <c:v>42681</c:v>
                </c:pt>
                <c:pt idx="726">
                  <c:v>42678</c:v>
                </c:pt>
                <c:pt idx="727">
                  <c:v>42677</c:v>
                </c:pt>
                <c:pt idx="728">
                  <c:v>42676</c:v>
                </c:pt>
                <c:pt idx="729">
                  <c:v>42675</c:v>
                </c:pt>
                <c:pt idx="730">
                  <c:v>42674</c:v>
                </c:pt>
                <c:pt idx="731">
                  <c:v>42671</c:v>
                </c:pt>
                <c:pt idx="732">
                  <c:v>42670</c:v>
                </c:pt>
                <c:pt idx="733">
                  <c:v>42669</c:v>
                </c:pt>
                <c:pt idx="734">
                  <c:v>42668</c:v>
                </c:pt>
                <c:pt idx="735">
                  <c:v>42667</c:v>
                </c:pt>
                <c:pt idx="736">
                  <c:v>42664</c:v>
                </c:pt>
                <c:pt idx="737">
                  <c:v>42663</c:v>
                </c:pt>
                <c:pt idx="738">
                  <c:v>42662</c:v>
                </c:pt>
                <c:pt idx="739">
                  <c:v>42661</c:v>
                </c:pt>
                <c:pt idx="740">
                  <c:v>42660</c:v>
                </c:pt>
                <c:pt idx="741">
                  <c:v>42657</c:v>
                </c:pt>
                <c:pt idx="742">
                  <c:v>42656</c:v>
                </c:pt>
                <c:pt idx="743">
                  <c:v>42655</c:v>
                </c:pt>
                <c:pt idx="744">
                  <c:v>42654</c:v>
                </c:pt>
                <c:pt idx="745">
                  <c:v>42653</c:v>
                </c:pt>
                <c:pt idx="746">
                  <c:v>42650</c:v>
                </c:pt>
                <c:pt idx="747">
                  <c:v>42649</c:v>
                </c:pt>
                <c:pt idx="748">
                  <c:v>42648</c:v>
                </c:pt>
                <c:pt idx="749">
                  <c:v>42647</c:v>
                </c:pt>
                <c:pt idx="750">
                  <c:v>42646</c:v>
                </c:pt>
                <c:pt idx="751">
                  <c:v>42643</c:v>
                </c:pt>
              </c:numCache>
            </c:numRef>
          </c:cat>
          <c:val>
            <c:numRef>
              <c:f>'Ark1'!$B$2:$B$753</c:f>
              <c:numCache>
                <c:formatCode>_ * #,##0.0_ ;_ * \-#,##0.0_ ;_ * "-"??_ ;_ @_ </c:formatCode>
                <c:ptCount val="752"/>
                <c:pt idx="0">
                  <c:v>37.4</c:v>
                </c:pt>
                <c:pt idx="1">
                  <c:v>37.1</c:v>
                </c:pt>
                <c:pt idx="2">
                  <c:v>37.1</c:v>
                </c:pt>
                <c:pt idx="3">
                  <c:v>37.1</c:v>
                </c:pt>
                <c:pt idx="4">
                  <c:v>37.1</c:v>
                </c:pt>
                <c:pt idx="5">
                  <c:v>37.5</c:v>
                </c:pt>
                <c:pt idx="6">
                  <c:v>37.5</c:v>
                </c:pt>
                <c:pt idx="7">
                  <c:v>37.5</c:v>
                </c:pt>
                <c:pt idx="8">
                  <c:v>37.1</c:v>
                </c:pt>
                <c:pt idx="9">
                  <c:v>37</c:v>
                </c:pt>
                <c:pt idx="10">
                  <c:v>37</c:v>
                </c:pt>
                <c:pt idx="11">
                  <c:v>37.5</c:v>
                </c:pt>
                <c:pt idx="12">
                  <c:v>37</c:v>
                </c:pt>
                <c:pt idx="13">
                  <c:v>36.799999999999997</c:v>
                </c:pt>
                <c:pt idx="14">
                  <c:v>36.799999999999997</c:v>
                </c:pt>
                <c:pt idx="15">
                  <c:v>37</c:v>
                </c:pt>
                <c:pt idx="16">
                  <c:v>36.799999999999997</c:v>
                </c:pt>
                <c:pt idx="17">
                  <c:v>37</c:v>
                </c:pt>
                <c:pt idx="18">
                  <c:v>37</c:v>
                </c:pt>
                <c:pt idx="19">
                  <c:v>36.799999999999997</c:v>
                </c:pt>
                <c:pt idx="20">
                  <c:v>37</c:v>
                </c:pt>
                <c:pt idx="21">
                  <c:v>37</c:v>
                </c:pt>
                <c:pt idx="22">
                  <c:v>36.9</c:v>
                </c:pt>
                <c:pt idx="23">
                  <c:v>37</c:v>
                </c:pt>
                <c:pt idx="24">
                  <c:v>37</c:v>
                </c:pt>
                <c:pt idx="25">
                  <c:v>37.4</c:v>
                </c:pt>
                <c:pt idx="26">
                  <c:v>37.299999999999997</c:v>
                </c:pt>
                <c:pt idx="27">
                  <c:v>37.700000000000003</c:v>
                </c:pt>
                <c:pt idx="28">
                  <c:v>37.700000000000003</c:v>
                </c:pt>
                <c:pt idx="29">
                  <c:v>37.4</c:v>
                </c:pt>
                <c:pt idx="30">
                  <c:v>37.6</c:v>
                </c:pt>
                <c:pt idx="31">
                  <c:v>37.4</c:v>
                </c:pt>
                <c:pt idx="32">
                  <c:v>37.6</c:v>
                </c:pt>
                <c:pt idx="33">
                  <c:v>37.5</c:v>
                </c:pt>
                <c:pt idx="34">
                  <c:v>37.799999999999997</c:v>
                </c:pt>
                <c:pt idx="35">
                  <c:v>37.5</c:v>
                </c:pt>
                <c:pt idx="36">
                  <c:v>37.9</c:v>
                </c:pt>
                <c:pt idx="37">
                  <c:v>37.799999999999997</c:v>
                </c:pt>
                <c:pt idx="38">
                  <c:v>37</c:v>
                </c:pt>
                <c:pt idx="39">
                  <c:v>37.6</c:v>
                </c:pt>
                <c:pt idx="40">
                  <c:v>37.5</c:v>
                </c:pt>
                <c:pt idx="41">
                  <c:v>37.9</c:v>
                </c:pt>
                <c:pt idx="42">
                  <c:v>37.700000000000003</c:v>
                </c:pt>
                <c:pt idx="43">
                  <c:v>37.9</c:v>
                </c:pt>
                <c:pt idx="44">
                  <c:v>37.799999999999997</c:v>
                </c:pt>
                <c:pt idx="45">
                  <c:v>37.799999999999997</c:v>
                </c:pt>
                <c:pt idx="46">
                  <c:v>37.799999999999997</c:v>
                </c:pt>
                <c:pt idx="47">
                  <c:v>37.6</c:v>
                </c:pt>
                <c:pt idx="48">
                  <c:v>37.6</c:v>
                </c:pt>
                <c:pt idx="49">
                  <c:v>37.5</c:v>
                </c:pt>
                <c:pt idx="50">
                  <c:v>37.799999999999997</c:v>
                </c:pt>
                <c:pt idx="51">
                  <c:v>37.5</c:v>
                </c:pt>
                <c:pt idx="52">
                  <c:v>37.299999999999997</c:v>
                </c:pt>
                <c:pt idx="53">
                  <c:v>37.1</c:v>
                </c:pt>
                <c:pt idx="54">
                  <c:v>37.200000000000003</c:v>
                </c:pt>
                <c:pt idx="55">
                  <c:v>37.4</c:v>
                </c:pt>
                <c:pt idx="56">
                  <c:v>37.6</c:v>
                </c:pt>
                <c:pt idx="57">
                  <c:v>38.200000000000003</c:v>
                </c:pt>
                <c:pt idx="58">
                  <c:v>37.9</c:v>
                </c:pt>
                <c:pt idx="59">
                  <c:v>37.9</c:v>
                </c:pt>
                <c:pt idx="60">
                  <c:v>38</c:v>
                </c:pt>
                <c:pt idx="61">
                  <c:v>37.6</c:v>
                </c:pt>
                <c:pt idx="62">
                  <c:v>37.799999999999997</c:v>
                </c:pt>
                <c:pt idx="63">
                  <c:v>37.4</c:v>
                </c:pt>
                <c:pt idx="64">
                  <c:v>37.6</c:v>
                </c:pt>
                <c:pt idx="65">
                  <c:v>37.700000000000003</c:v>
                </c:pt>
                <c:pt idx="66">
                  <c:v>38</c:v>
                </c:pt>
                <c:pt idx="67">
                  <c:v>38</c:v>
                </c:pt>
                <c:pt idx="68">
                  <c:v>37.700000000000003</c:v>
                </c:pt>
                <c:pt idx="69">
                  <c:v>37.9</c:v>
                </c:pt>
                <c:pt idx="70">
                  <c:v>37.5</c:v>
                </c:pt>
                <c:pt idx="71">
                  <c:v>37.4</c:v>
                </c:pt>
                <c:pt idx="72">
                  <c:v>37.700000000000003</c:v>
                </c:pt>
                <c:pt idx="73">
                  <c:v>37.4</c:v>
                </c:pt>
                <c:pt idx="74">
                  <c:v>37.4</c:v>
                </c:pt>
                <c:pt idx="75">
                  <c:v>37.5</c:v>
                </c:pt>
                <c:pt idx="76">
                  <c:v>37.6</c:v>
                </c:pt>
                <c:pt idx="77">
                  <c:v>37.4</c:v>
                </c:pt>
                <c:pt idx="78">
                  <c:v>37.1</c:v>
                </c:pt>
                <c:pt idx="79">
                  <c:v>37.799999999999997</c:v>
                </c:pt>
                <c:pt idx="80">
                  <c:v>38</c:v>
                </c:pt>
                <c:pt idx="81">
                  <c:v>37.9</c:v>
                </c:pt>
                <c:pt idx="82">
                  <c:v>38</c:v>
                </c:pt>
                <c:pt idx="83">
                  <c:v>37.700000000000003</c:v>
                </c:pt>
                <c:pt idx="84">
                  <c:v>37.799999999999997</c:v>
                </c:pt>
                <c:pt idx="85">
                  <c:v>36.6</c:v>
                </c:pt>
                <c:pt idx="86">
                  <c:v>36.700000000000003</c:v>
                </c:pt>
                <c:pt idx="87">
                  <c:v>37.9</c:v>
                </c:pt>
                <c:pt idx="88">
                  <c:v>38</c:v>
                </c:pt>
                <c:pt idx="89">
                  <c:v>38</c:v>
                </c:pt>
                <c:pt idx="90">
                  <c:v>37.799999999999997</c:v>
                </c:pt>
                <c:pt idx="91">
                  <c:v>38</c:v>
                </c:pt>
                <c:pt idx="92">
                  <c:v>38</c:v>
                </c:pt>
                <c:pt idx="93">
                  <c:v>37.700000000000003</c:v>
                </c:pt>
                <c:pt idx="94">
                  <c:v>37.5</c:v>
                </c:pt>
                <c:pt idx="95">
                  <c:v>37</c:v>
                </c:pt>
                <c:pt idx="96">
                  <c:v>36.200000000000003</c:v>
                </c:pt>
                <c:pt idx="97">
                  <c:v>36.6</c:v>
                </c:pt>
                <c:pt idx="98">
                  <c:v>36.799999999999997</c:v>
                </c:pt>
                <c:pt idx="99">
                  <c:v>36.5</c:v>
                </c:pt>
                <c:pt idx="100">
                  <c:v>36.700000000000003</c:v>
                </c:pt>
                <c:pt idx="101">
                  <c:v>37</c:v>
                </c:pt>
                <c:pt idx="102">
                  <c:v>36.5</c:v>
                </c:pt>
                <c:pt idx="103">
                  <c:v>37.1</c:v>
                </c:pt>
                <c:pt idx="104">
                  <c:v>37</c:v>
                </c:pt>
                <c:pt idx="105">
                  <c:v>36.700000000000003</c:v>
                </c:pt>
                <c:pt idx="106">
                  <c:v>36.6</c:v>
                </c:pt>
                <c:pt idx="107">
                  <c:v>36.799999999999997</c:v>
                </c:pt>
                <c:pt idx="108">
                  <c:v>37</c:v>
                </c:pt>
                <c:pt idx="109">
                  <c:v>36.6</c:v>
                </c:pt>
                <c:pt idx="110">
                  <c:v>37</c:v>
                </c:pt>
                <c:pt idx="111">
                  <c:v>36.700000000000003</c:v>
                </c:pt>
                <c:pt idx="112">
                  <c:v>36.4</c:v>
                </c:pt>
                <c:pt idx="113">
                  <c:v>36.5</c:v>
                </c:pt>
                <c:pt idx="114">
                  <c:v>36.4</c:v>
                </c:pt>
                <c:pt idx="115">
                  <c:v>36.200000000000003</c:v>
                </c:pt>
                <c:pt idx="116">
                  <c:v>35.9</c:v>
                </c:pt>
                <c:pt idx="117">
                  <c:v>36.1</c:v>
                </c:pt>
                <c:pt idx="118">
                  <c:v>36.4</c:v>
                </c:pt>
                <c:pt idx="119">
                  <c:v>36</c:v>
                </c:pt>
                <c:pt idx="120">
                  <c:v>36.1</c:v>
                </c:pt>
                <c:pt idx="121">
                  <c:v>36.1</c:v>
                </c:pt>
                <c:pt idx="122">
                  <c:v>36.1</c:v>
                </c:pt>
                <c:pt idx="123">
                  <c:v>36.5</c:v>
                </c:pt>
                <c:pt idx="124">
                  <c:v>36</c:v>
                </c:pt>
                <c:pt idx="125">
                  <c:v>38.9</c:v>
                </c:pt>
                <c:pt idx="126">
                  <c:v>38.9</c:v>
                </c:pt>
                <c:pt idx="127">
                  <c:v>38.9</c:v>
                </c:pt>
                <c:pt idx="128">
                  <c:v>39.299999999999997</c:v>
                </c:pt>
                <c:pt idx="129">
                  <c:v>39.299999999999997</c:v>
                </c:pt>
                <c:pt idx="130">
                  <c:v>39.6</c:v>
                </c:pt>
                <c:pt idx="131">
                  <c:v>39.5</c:v>
                </c:pt>
                <c:pt idx="132">
                  <c:v>39.4</c:v>
                </c:pt>
                <c:pt idx="133">
                  <c:v>39.200000000000003</c:v>
                </c:pt>
                <c:pt idx="134">
                  <c:v>39</c:v>
                </c:pt>
                <c:pt idx="135">
                  <c:v>39</c:v>
                </c:pt>
                <c:pt idx="136">
                  <c:v>38.9</c:v>
                </c:pt>
                <c:pt idx="137">
                  <c:v>38.700000000000003</c:v>
                </c:pt>
                <c:pt idx="138">
                  <c:v>39</c:v>
                </c:pt>
                <c:pt idx="139">
                  <c:v>38.799999999999997</c:v>
                </c:pt>
                <c:pt idx="140">
                  <c:v>39</c:v>
                </c:pt>
                <c:pt idx="141">
                  <c:v>39.1</c:v>
                </c:pt>
                <c:pt idx="142">
                  <c:v>39.1</c:v>
                </c:pt>
                <c:pt idx="143">
                  <c:v>38.799999999999997</c:v>
                </c:pt>
                <c:pt idx="144">
                  <c:v>39.200000000000003</c:v>
                </c:pt>
                <c:pt idx="145">
                  <c:v>39</c:v>
                </c:pt>
                <c:pt idx="146">
                  <c:v>39.200000000000003</c:v>
                </c:pt>
                <c:pt idx="147">
                  <c:v>38.799999999999997</c:v>
                </c:pt>
                <c:pt idx="148">
                  <c:v>39</c:v>
                </c:pt>
                <c:pt idx="149">
                  <c:v>39</c:v>
                </c:pt>
                <c:pt idx="150">
                  <c:v>39.200000000000003</c:v>
                </c:pt>
                <c:pt idx="151">
                  <c:v>38.799999999999997</c:v>
                </c:pt>
                <c:pt idx="152">
                  <c:v>39</c:v>
                </c:pt>
                <c:pt idx="153">
                  <c:v>38.5</c:v>
                </c:pt>
                <c:pt idx="154">
                  <c:v>38.299999999999997</c:v>
                </c:pt>
                <c:pt idx="155">
                  <c:v>37.700000000000003</c:v>
                </c:pt>
                <c:pt idx="156">
                  <c:v>38</c:v>
                </c:pt>
                <c:pt idx="157">
                  <c:v>38.200000000000003</c:v>
                </c:pt>
                <c:pt idx="158">
                  <c:v>37.9</c:v>
                </c:pt>
                <c:pt idx="159">
                  <c:v>38</c:v>
                </c:pt>
                <c:pt idx="160">
                  <c:v>37.700000000000003</c:v>
                </c:pt>
                <c:pt idx="161">
                  <c:v>37.299999999999997</c:v>
                </c:pt>
                <c:pt idx="162">
                  <c:v>37</c:v>
                </c:pt>
                <c:pt idx="163">
                  <c:v>37</c:v>
                </c:pt>
                <c:pt idx="164">
                  <c:v>37</c:v>
                </c:pt>
                <c:pt idx="165">
                  <c:v>37</c:v>
                </c:pt>
                <c:pt idx="166">
                  <c:v>36.799999999999997</c:v>
                </c:pt>
                <c:pt idx="167">
                  <c:v>37.1</c:v>
                </c:pt>
                <c:pt idx="168">
                  <c:v>36.799999999999997</c:v>
                </c:pt>
                <c:pt idx="169">
                  <c:v>36.700000000000003</c:v>
                </c:pt>
                <c:pt idx="170">
                  <c:v>36.200000000000003</c:v>
                </c:pt>
                <c:pt idx="171">
                  <c:v>36</c:v>
                </c:pt>
                <c:pt idx="172">
                  <c:v>36.200000000000003</c:v>
                </c:pt>
                <c:pt idx="173">
                  <c:v>36.4</c:v>
                </c:pt>
                <c:pt idx="174">
                  <c:v>36.6</c:v>
                </c:pt>
                <c:pt idx="175">
                  <c:v>36</c:v>
                </c:pt>
                <c:pt idx="176">
                  <c:v>36.4</c:v>
                </c:pt>
                <c:pt idx="177">
                  <c:v>36.5</c:v>
                </c:pt>
                <c:pt idx="178">
                  <c:v>36.299999999999997</c:v>
                </c:pt>
                <c:pt idx="179">
                  <c:v>36.200000000000003</c:v>
                </c:pt>
                <c:pt idx="180">
                  <c:v>35.799999999999997</c:v>
                </c:pt>
                <c:pt idx="181">
                  <c:v>36</c:v>
                </c:pt>
                <c:pt idx="182">
                  <c:v>35.9</c:v>
                </c:pt>
                <c:pt idx="183">
                  <c:v>35.799999999999997</c:v>
                </c:pt>
                <c:pt idx="184">
                  <c:v>35.799999999999997</c:v>
                </c:pt>
                <c:pt idx="185">
                  <c:v>35.799999999999997</c:v>
                </c:pt>
                <c:pt idx="186">
                  <c:v>35.6</c:v>
                </c:pt>
                <c:pt idx="187">
                  <c:v>35.6</c:v>
                </c:pt>
                <c:pt idx="188">
                  <c:v>34.9</c:v>
                </c:pt>
                <c:pt idx="189">
                  <c:v>34.5</c:v>
                </c:pt>
                <c:pt idx="190">
                  <c:v>34</c:v>
                </c:pt>
                <c:pt idx="191">
                  <c:v>34.799999999999997</c:v>
                </c:pt>
                <c:pt idx="192">
                  <c:v>34.700000000000003</c:v>
                </c:pt>
                <c:pt idx="193">
                  <c:v>35</c:v>
                </c:pt>
                <c:pt idx="194">
                  <c:v>35.299999999999997</c:v>
                </c:pt>
                <c:pt idx="195">
                  <c:v>35.4</c:v>
                </c:pt>
                <c:pt idx="196">
                  <c:v>35.299999999999997</c:v>
                </c:pt>
                <c:pt idx="197">
                  <c:v>34.700000000000003</c:v>
                </c:pt>
                <c:pt idx="198">
                  <c:v>34.9</c:v>
                </c:pt>
                <c:pt idx="199">
                  <c:v>35.5</c:v>
                </c:pt>
                <c:pt idx="200">
                  <c:v>35.299999999999997</c:v>
                </c:pt>
                <c:pt idx="201">
                  <c:v>35.700000000000003</c:v>
                </c:pt>
                <c:pt idx="202">
                  <c:v>36</c:v>
                </c:pt>
                <c:pt idx="203">
                  <c:v>35.799999999999997</c:v>
                </c:pt>
                <c:pt idx="204">
                  <c:v>35</c:v>
                </c:pt>
                <c:pt idx="205">
                  <c:v>35</c:v>
                </c:pt>
                <c:pt idx="206">
                  <c:v>34.9</c:v>
                </c:pt>
                <c:pt idx="207">
                  <c:v>34.700000000000003</c:v>
                </c:pt>
                <c:pt idx="208">
                  <c:v>34.9</c:v>
                </c:pt>
                <c:pt idx="209">
                  <c:v>35</c:v>
                </c:pt>
                <c:pt idx="210">
                  <c:v>35</c:v>
                </c:pt>
                <c:pt idx="211">
                  <c:v>34.6</c:v>
                </c:pt>
                <c:pt idx="212">
                  <c:v>34.700000000000003</c:v>
                </c:pt>
                <c:pt idx="213">
                  <c:v>35.200000000000003</c:v>
                </c:pt>
                <c:pt idx="214">
                  <c:v>35.5</c:v>
                </c:pt>
                <c:pt idx="215">
                  <c:v>35.5</c:v>
                </c:pt>
                <c:pt idx="216">
                  <c:v>35.700000000000003</c:v>
                </c:pt>
                <c:pt idx="217">
                  <c:v>35.799999999999997</c:v>
                </c:pt>
                <c:pt idx="218">
                  <c:v>35.9</c:v>
                </c:pt>
                <c:pt idx="219">
                  <c:v>35.9</c:v>
                </c:pt>
                <c:pt idx="220">
                  <c:v>36</c:v>
                </c:pt>
                <c:pt idx="221">
                  <c:v>36.1</c:v>
                </c:pt>
                <c:pt idx="222">
                  <c:v>35.5</c:v>
                </c:pt>
                <c:pt idx="223">
                  <c:v>35.799999999999997</c:v>
                </c:pt>
                <c:pt idx="224">
                  <c:v>35.5</c:v>
                </c:pt>
                <c:pt idx="225">
                  <c:v>35.200000000000003</c:v>
                </c:pt>
                <c:pt idx="226">
                  <c:v>34.9</c:v>
                </c:pt>
                <c:pt idx="227">
                  <c:v>34.700000000000003</c:v>
                </c:pt>
                <c:pt idx="228">
                  <c:v>34.5</c:v>
                </c:pt>
                <c:pt idx="229">
                  <c:v>34.1</c:v>
                </c:pt>
                <c:pt idx="230">
                  <c:v>34.9</c:v>
                </c:pt>
                <c:pt idx="231">
                  <c:v>34.700000000000003</c:v>
                </c:pt>
                <c:pt idx="232">
                  <c:v>35</c:v>
                </c:pt>
                <c:pt idx="233">
                  <c:v>35.200000000000003</c:v>
                </c:pt>
                <c:pt idx="234">
                  <c:v>35.5</c:v>
                </c:pt>
                <c:pt idx="235">
                  <c:v>35</c:v>
                </c:pt>
                <c:pt idx="236">
                  <c:v>35.1</c:v>
                </c:pt>
                <c:pt idx="237">
                  <c:v>35.6</c:v>
                </c:pt>
                <c:pt idx="238">
                  <c:v>35</c:v>
                </c:pt>
                <c:pt idx="239">
                  <c:v>35</c:v>
                </c:pt>
                <c:pt idx="240">
                  <c:v>35.700000000000003</c:v>
                </c:pt>
                <c:pt idx="241">
                  <c:v>36.4</c:v>
                </c:pt>
                <c:pt idx="242">
                  <c:v>36.1</c:v>
                </c:pt>
                <c:pt idx="243">
                  <c:v>36.4</c:v>
                </c:pt>
                <c:pt idx="244">
                  <c:v>36.5</c:v>
                </c:pt>
                <c:pt idx="245">
                  <c:v>36.700000000000003</c:v>
                </c:pt>
                <c:pt idx="246">
                  <c:v>36.700000000000003</c:v>
                </c:pt>
                <c:pt idx="247">
                  <c:v>36.6</c:v>
                </c:pt>
                <c:pt idx="248">
                  <c:v>36.4</c:v>
                </c:pt>
                <c:pt idx="249">
                  <c:v>36.1</c:v>
                </c:pt>
                <c:pt idx="250">
                  <c:v>36.6</c:v>
                </c:pt>
                <c:pt idx="251">
                  <c:v>36.799999999999997</c:v>
                </c:pt>
                <c:pt idx="252">
                  <c:v>36.5</c:v>
                </c:pt>
                <c:pt idx="253">
                  <c:v>36.4</c:v>
                </c:pt>
                <c:pt idx="254">
                  <c:v>36.5</c:v>
                </c:pt>
                <c:pt idx="255">
                  <c:v>36.200000000000003</c:v>
                </c:pt>
                <c:pt idx="256">
                  <c:v>36</c:v>
                </c:pt>
                <c:pt idx="257">
                  <c:v>36.200000000000003</c:v>
                </c:pt>
                <c:pt idx="258">
                  <c:v>36.5</c:v>
                </c:pt>
                <c:pt idx="259">
                  <c:v>36</c:v>
                </c:pt>
                <c:pt idx="260">
                  <c:v>36.5</c:v>
                </c:pt>
                <c:pt idx="261">
                  <c:v>36.200000000000003</c:v>
                </c:pt>
                <c:pt idx="262">
                  <c:v>36.4</c:v>
                </c:pt>
                <c:pt idx="263">
                  <c:v>36.6</c:v>
                </c:pt>
                <c:pt idx="264">
                  <c:v>36</c:v>
                </c:pt>
                <c:pt idx="265">
                  <c:v>36.4</c:v>
                </c:pt>
                <c:pt idx="266">
                  <c:v>36.700000000000003</c:v>
                </c:pt>
                <c:pt idx="267">
                  <c:v>36.799999999999997</c:v>
                </c:pt>
                <c:pt idx="268">
                  <c:v>36.9</c:v>
                </c:pt>
                <c:pt idx="269">
                  <c:v>36.299999999999997</c:v>
                </c:pt>
                <c:pt idx="270">
                  <c:v>36.5</c:v>
                </c:pt>
                <c:pt idx="271">
                  <c:v>36.5</c:v>
                </c:pt>
                <c:pt idx="272">
                  <c:v>36.799999999999997</c:v>
                </c:pt>
                <c:pt idx="273">
                  <c:v>36.700000000000003</c:v>
                </c:pt>
                <c:pt idx="274">
                  <c:v>36.1</c:v>
                </c:pt>
                <c:pt idx="275">
                  <c:v>36.700000000000003</c:v>
                </c:pt>
                <c:pt idx="276">
                  <c:v>36.299999999999997</c:v>
                </c:pt>
                <c:pt idx="277">
                  <c:v>36</c:v>
                </c:pt>
                <c:pt idx="278">
                  <c:v>36.4</c:v>
                </c:pt>
                <c:pt idx="279">
                  <c:v>36.200000000000003</c:v>
                </c:pt>
                <c:pt idx="280">
                  <c:v>35.700000000000003</c:v>
                </c:pt>
                <c:pt idx="281">
                  <c:v>36</c:v>
                </c:pt>
                <c:pt idx="282">
                  <c:v>36</c:v>
                </c:pt>
                <c:pt idx="283">
                  <c:v>35.799999999999997</c:v>
                </c:pt>
                <c:pt idx="284">
                  <c:v>36</c:v>
                </c:pt>
                <c:pt idx="285">
                  <c:v>36.4</c:v>
                </c:pt>
                <c:pt idx="286">
                  <c:v>35.4</c:v>
                </c:pt>
                <c:pt idx="287">
                  <c:v>35.4</c:v>
                </c:pt>
                <c:pt idx="288">
                  <c:v>35.799999999999997</c:v>
                </c:pt>
                <c:pt idx="289">
                  <c:v>34.5</c:v>
                </c:pt>
                <c:pt idx="290">
                  <c:v>34.5</c:v>
                </c:pt>
                <c:pt idx="291">
                  <c:v>34.700000000000003</c:v>
                </c:pt>
                <c:pt idx="292">
                  <c:v>35</c:v>
                </c:pt>
                <c:pt idx="293">
                  <c:v>34.5</c:v>
                </c:pt>
                <c:pt idx="294">
                  <c:v>35.5</c:v>
                </c:pt>
                <c:pt idx="295">
                  <c:v>34.700000000000003</c:v>
                </c:pt>
                <c:pt idx="296">
                  <c:v>35</c:v>
                </c:pt>
                <c:pt idx="297">
                  <c:v>34.6</c:v>
                </c:pt>
                <c:pt idx="298">
                  <c:v>34.6</c:v>
                </c:pt>
                <c:pt idx="299">
                  <c:v>35.299999999999997</c:v>
                </c:pt>
                <c:pt idx="300">
                  <c:v>34.799999999999997</c:v>
                </c:pt>
                <c:pt idx="301">
                  <c:v>35</c:v>
                </c:pt>
                <c:pt idx="302">
                  <c:v>35</c:v>
                </c:pt>
                <c:pt idx="303">
                  <c:v>35.4</c:v>
                </c:pt>
                <c:pt idx="304">
                  <c:v>35</c:v>
                </c:pt>
                <c:pt idx="305">
                  <c:v>35.4</c:v>
                </c:pt>
                <c:pt idx="306">
                  <c:v>35.4</c:v>
                </c:pt>
                <c:pt idx="307">
                  <c:v>35.200000000000003</c:v>
                </c:pt>
                <c:pt idx="308">
                  <c:v>35.299999999999997</c:v>
                </c:pt>
                <c:pt idx="309">
                  <c:v>34.799999999999997</c:v>
                </c:pt>
                <c:pt idx="310">
                  <c:v>34.6</c:v>
                </c:pt>
                <c:pt idx="311">
                  <c:v>34.5</c:v>
                </c:pt>
                <c:pt idx="312">
                  <c:v>34.5</c:v>
                </c:pt>
                <c:pt idx="313">
                  <c:v>33.5</c:v>
                </c:pt>
                <c:pt idx="314">
                  <c:v>34.5</c:v>
                </c:pt>
                <c:pt idx="315">
                  <c:v>34</c:v>
                </c:pt>
                <c:pt idx="316">
                  <c:v>34</c:v>
                </c:pt>
                <c:pt idx="317">
                  <c:v>33.799999999999997</c:v>
                </c:pt>
                <c:pt idx="318">
                  <c:v>34</c:v>
                </c:pt>
                <c:pt idx="319">
                  <c:v>34.200000000000003</c:v>
                </c:pt>
                <c:pt idx="320">
                  <c:v>33.9</c:v>
                </c:pt>
                <c:pt idx="321">
                  <c:v>32.700000000000003</c:v>
                </c:pt>
                <c:pt idx="322">
                  <c:v>33</c:v>
                </c:pt>
                <c:pt idx="323">
                  <c:v>33</c:v>
                </c:pt>
                <c:pt idx="324">
                  <c:v>33</c:v>
                </c:pt>
                <c:pt idx="325">
                  <c:v>33.299999999999997</c:v>
                </c:pt>
                <c:pt idx="326">
                  <c:v>33.200000000000003</c:v>
                </c:pt>
                <c:pt idx="327">
                  <c:v>33.5</c:v>
                </c:pt>
                <c:pt idx="328">
                  <c:v>33.1</c:v>
                </c:pt>
                <c:pt idx="329">
                  <c:v>33.4</c:v>
                </c:pt>
                <c:pt idx="330">
                  <c:v>33.299999999999997</c:v>
                </c:pt>
                <c:pt idx="331">
                  <c:v>33</c:v>
                </c:pt>
                <c:pt idx="332">
                  <c:v>33.9</c:v>
                </c:pt>
                <c:pt idx="333">
                  <c:v>34.200000000000003</c:v>
                </c:pt>
                <c:pt idx="334">
                  <c:v>34</c:v>
                </c:pt>
                <c:pt idx="335">
                  <c:v>34.200000000000003</c:v>
                </c:pt>
                <c:pt idx="336">
                  <c:v>33.799999999999997</c:v>
                </c:pt>
                <c:pt idx="337">
                  <c:v>33.9</c:v>
                </c:pt>
                <c:pt idx="338">
                  <c:v>34</c:v>
                </c:pt>
                <c:pt idx="339">
                  <c:v>33.799999999999997</c:v>
                </c:pt>
                <c:pt idx="340">
                  <c:v>33.299999999999997</c:v>
                </c:pt>
                <c:pt idx="341">
                  <c:v>33.799999999999997</c:v>
                </c:pt>
                <c:pt idx="342">
                  <c:v>33.799999999999997</c:v>
                </c:pt>
                <c:pt idx="343">
                  <c:v>33.799999999999997</c:v>
                </c:pt>
                <c:pt idx="344">
                  <c:v>33.799999999999997</c:v>
                </c:pt>
                <c:pt idx="345">
                  <c:v>34</c:v>
                </c:pt>
                <c:pt idx="346">
                  <c:v>34.1</c:v>
                </c:pt>
                <c:pt idx="347">
                  <c:v>34</c:v>
                </c:pt>
                <c:pt idx="348">
                  <c:v>33.799999999999997</c:v>
                </c:pt>
                <c:pt idx="349">
                  <c:v>34.200000000000003</c:v>
                </c:pt>
                <c:pt idx="350">
                  <c:v>34.200000000000003</c:v>
                </c:pt>
                <c:pt idx="351">
                  <c:v>34.6</c:v>
                </c:pt>
                <c:pt idx="352">
                  <c:v>34.700000000000003</c:v>
                </c:pt>
                <c:pt idx="353">
                  <c:v>34.799999999999997</c:v>
                </c:pt>
                <c:pt idx="354">
                  <c:v>34</c:v>
                </c:pt>
                <c:pt idx="355">
                  <c:v>34.4</c:v>
                </c:pt>
                <c:pt idx="356">
                  <c:v>34.1</c:v>
                </c:pt>
                <c:pt idx="357">
                  <c:v>34.1</c:v>
                </c:pt>
                <c:pt idx="358">
                  <c:v>34.5</c:v>
                </c:pt>
                <c:pt idx="359">
                  <c:v>34.4</c:v>
                </c:pt>
                <c:pt idx="360">
                  <c:v>34.299999999999997</c:v>
                </c:pt>
                <c:pt idx="361">
                  <c:v>33.799999999999997</c:v>
                </c:pt>
                <c:pt idx="362">
                  <c:v>33.700000000000003</c:v>
                </c:pt>
                <c:pt idx="363">
                  <c:v>33.799999999999997</c:v>
                </c:pt>
                <c:pt idx="364">
                  <c:v>34.4</c:v>
                </c:pt>
                <c:pt idx="365">
                  <c:v>34.299999999999997</c:v>
                </c:pt>
                <c:pt idx="366">
                  <c:v>34.4</c:v>
                </c:pt>
                <c:pt idx="367">
                  <c:v>33.9</c:v>
                </c:pt>
                <c:pt idx="368">
                  <c:v>34.700000000000003</c:v>
                </c:pt>
                <c:pt idx="369">
                  <c:v>33.9</c:v>
                </c:pt>
                <c:pt idx="370">
                  <c:v>34.4</c:v>
                </c:pt>
                <c:pt idx="371">
                  <c:v>34</c:v>
                </c:pt>
                <c:pt idx="372">
                  <c:v>34</c:v>
                </c:pt>
                <c:pt idx="373">
                  <c:v>34.6</c:v>
                </c:pt>
                <c:pt idx="374">
                  <c:v>34.200000000000003</c:v>
                </c:pt>
                <c:pt idx="375">
                  <c:v>34.200000000000003</c:v>
                </c:pt>
                <c:pt idx="376">
                  <c:v>34</c:v>
                </c:pt>
                <c:pt idx="377">
                  <c:v>34.1</c:v>
                </c:pt>
                <c:pt idx="378">
                  <c:v>36.9</c:v>
                </c:pt>
                <c:pt idx="379">
                  <c:v>36.9</c:v>
                </c:pt>
                <c:pt idx="380">
                  <c:v>37.6</c:v>
                </c:pt>
                <c:pt idx="381">
                  <c:v>37.6</c:v>
                </c:pt>
                <c:pt idx="382">
                  <c:v>37.700000000000003</c:v>
                </c:pt>
                <c:pt idx="383">
                  <c:v>37.700000000000003</c:v>
                </c:pt>
                <c:pt idx="384">
                  <c:v>37.700000000000003</c:v>
                </c:pt>
                <c:pt idx="385">
                  <c:v>37.6</c:v>
                </c:pt>
                <c:pt idx="386">
                  <c:v>37.700000000000003</c:v>
                </c:pt>
                <c:pt idx="387">
                  <c:v>37.700000000000003</c:v>
                </c:pt>
                <c:pt idx="388">
                  <c:v>37.799999999999997</c:v>
                </c:pt>
                <c:pt idx="389">
                  <c:v>37.799999999999997</c:v>
                </c:pt>
                <c:pt idx="390">
                  <c:v>37.299999999999997</c:v>
                </c:pt>
                <c:pt idx="391">
                  <c:v>37.5</c:v>
                </c:pt>
                <c:pt idx="392">
                  <c:v>37.200000000000003</c:v>
                </c:pt>
                <c:pt idx="393">
                  <c:v>37.200000000000003</c:v>
                </c:pt>
                <c:pt idx="394">
                  <c:v>37.799999999999997</c:v>
                </c:pt>
                <c:pt idx="395">
                  <c:v>37.6</c:v>
                </c:pt>
                <c:pt idx="396">
                  <c:v>37.4</c:v>
                </c:pt>
                <c:pt idx="397">
                  <c:v>37.5</c:v>
                </c:pt>
                <c:pt idx="398">
                  <c:v>36.700000000000003</c:v>
                </c:pt>
                <c:pt idx="399">
                  <c:v>37.1</c:v>
                </c:pt>
                <c:pt idx="400">
                  <c:v>36.6</c:v>
                </c:pt>
                <c:pt idx="401">
                  <c:v>36.4</c:v>
                </c:pt>
                <c:pt idx="402">
                  <c:v>36.4</c:v>
                </c:pt>
                <c:pt idx="403">
                  <c:v>36.299999999999997</c:v>
                </c:pt>
                <c:pt idx="404">
                  <c:v>35.1</c:v>
                </c:pt>
                <c:pt idx="405">
                  <c:v>35.5</c:v>
                </c:pt>
                <c:pt idx="406">
                  <c:v>35.1</c:v>
                </c:pt>
                <c:pt idx="407">
                  <c:v>35.299999999999997</c:v>
                </c:pt>
                <c:pt idx="408">
                  <c:v>35.4</c:v>
                </c:pt>
                <c:pt idx="409">
                  <c:v>34.799999999999997</c:v>
                </c:pt>
                <c:pt idx="410">
                  <c:v>34.9</c:v>
                </c:pt>
                <c:pt idx="411">
                  <c:v>35.1</c:v>
                </c:pt>
                <c:pt idx="412">
                  <c:v>35.200000000000003</c:v>
                </c:pt>
                <c:pt idx="413">
                  <c:v>34.799999999999997</c:v>
                </c:pt>
                <c:pt idx="414">
                  <c:v>34.5</c:v>
                </c:pt>
                <c:pt idx="415">
                  <c:v>35.200000000000003</c:v>
                </c:pt>
                <c:pt idx="416">
                  <c:v>35.200000000000003</c:v>
                </c:pt>
                <c:pt idx="417">
                  <c:v>35.1</c:v>
                </c:pt>
                <c:pt idx="418">
                  <c:v>35.200000000000003</c:v>
                </c:pt>
                <c:pt idx="419">
                  <c:v>35.4</c:v>
                </c:pt>
                <c:pt idx="420">
                  <c:v>35.4</c:v>
                </c:pt>
                <c:pt idx="421">
                  <c:v>34.799999999999997</c:v>
                </c:pt>
                <c:pt idx="422">
                  <c:v>34.799999999999997</c:v>
                </c:pt>
                <c:pt idx="423">
                  <c:v>34.6</c:v>
                </c:pt>
                <c:pt idx="424">
                  <c:v>34.6</c:v>
                </c:pt>
                <c:pt idx="425">
                  <c:v>34.6</c:v>
                </c:pt>
                <c:pt idx="426">
                  <c:v>34.5</c:v>
                </c:pt>
                <c:pt idx="427">
                  <c:v>34.5</c:v>
                </c:pt>
                <c:pt idx="428">
                  <c:v>34</c:v>
                </c:pt>
                <c:pt idx="429">
                  <c:v>34.299999999999997</c:v>
                </c:pt>
                <c:pt idx="430">
                  <c:v>34.299999999999997</c:v>
                </c:pt>
                <c:pt idx="431">
                  <c:v>34.5</c:v>
                </c:pt>
                <c:pt idx="432">
                  <c:v>34.4</c:v>
                </c:pt>
                <c:pt idx="433">
                  <c:v>34.4</c:v>
                </c:pt>
                <c:pt idx="434">
                  <c:v>34.4</c:v>
                </c:pt>
                <c:pt idx="435">
                  <c:v>33.799999999999997</c:v>
                </c:pt>
                <c:pt idx="436">
                  <c:v>33.9</c:v>
                </c:pt>
                <c:pt idx="437">
                  <c:v>33.799999999999997</c:v>
                </c:pt>
                <c:pt idx="438">
                  <c:v>33.9</c:v>
                </c:pt>
                <c:pt idx="439">
                  <c:v>33.799999999999997</c:v>
                </c:pt>
                <c:pt idx="440">
                  <c:v>34</c:v>
                </c:pt>
                <c:pt idx="441">
                  <c:v>33.799999999999997</c:v>
                </c:pt>
                <c:pt idx="442">
                  <c:v>34</c:v>
                </c:pt>
                <c:pt idx="443">
                  <c:v>33.799999999999997</c:v>
                </c:pt>
                <c:pt idx="444">
                  <c:v>33.9</c:v>
                </c:pt>
                <c:pt idx="445">
                  <c:v>33.9</c:v>
                </c:pt>
                <c:pt idx="446">
                  <c:v>34.299999999999997</c:v>
                </c:pt>
                <c:pt idx="447">
                  <c:v>34.200000000000003</c:v>
                </c:pt>
                <c:pt idx="448">
                  <c:v>34</c:v>
                </c:pt>
                <c:pt idx="449">
                  <c:v>34.1</c:v>
                </c:pt>
                <c:pt idx="450">
                  <c:v>34</c:v>
                </c:pt>
                <c:pt idx="451">
                  <c:v>34.700000000000003</c:v>
                </c:pt>
                <c:pt idx="452">
                  <c:v>34.700000000000003</c:v>
                </c:pt>
                <c:pt idx="453">
                  <c:v>34.299999999999997</c:v>
                </c:pt>
                <c:pt idx="454">
                  <c:v>34</c:v>
                </c:pt>
                <c:pt idx="455">
                  <c:v>34.299999999999997</c:v>
                </c:pt>
                <c:pt idx="456">
                  <c:v>34.5</c:v>
                </c:pt>
                <c:pt idx="457">
                  <c:v>34.6</c:v>
                </c:pt>
                <c:pt idx="458">
                  <c:v>35.1</c:v>
                </c:pt>
                <c:pt idx="459">
                  <c:v>35.200000000000003</c:v>
                </c:pt>
                <c:pt idx="460">
                  <c:v>34.700000000000003</c:v>
                </c:pt>
                <c:pt idx="461">
                  <c:v>35.4</c:v>
                </c:pt>
                <c:pt idx="462">
                  <c:v>35.299999999999997</c:v>
                </c:pt>
                <c:pt idx="463">
                  <c:v>34.6</c:v>
                </c:pt>
                <c:pt idx="464">
                  <c:v>34.299999999999997</c:v>
                </c:pt>
                <c:pt idx="465">
                  <c:v>34.4</c:v>
                </c:pt>
                <c:pt idx="466">
                  <c:v>34.9</c:v>
                </c:pt>
                <c:pt idx="467">
                  <c:v>35.299999999999997</c:v>
                </c:pt>
                <c:pt idx="468">
                  <c:v>35.799999999999997</c:v>
                </c:pt>
                <c:pt idx="469">
                  <c:v>35.9</c:v>
                </c:pt>
                <c:pt idx="470">
                  <c:v>35.200000000000003</c:v>
                </c:pt>
                <c:pt idx="471">
                  <c:v>35.4</c:v>
                </c:pt>
                <c:pt idx="472">
                  <c:v>35.200000000000003</c:v>
                </c:pt>
                <c:pt idx="473">
                  <c:v>36</c:v>
                </c:pt>
                <c:pt idx="474">
                  <c:v>35.700000000000003</c:v>
                </c:pt>
                <c:pt idx="475">
                  <c:v>35.4</c:v>
                </c:pt>
                <c:pt idx="476">
                  <c:v>35.4</c:v>
                </c:pt>
                <c:pt idx="477">
                  <c:v>34.700000000000003</c:v>
                </c:pt>
                <c:pt idx="478">
                  <c:v>34.200000000000003</c:v>
                </c:pt>
                <c:pt idx="479">
                  <c:v>34.299999999999997</c:v>
                </c:pt>
                <c:pt idx="480">
                  <c:v>33.799999999999997</c:v>
                </c:pt>
                <c:pt idx="481">
                  <c:v>33.700000000000003</c:v>
                </c:pt>
                <c:pt idx="482">
                  <c:v>34</c:v>
                </c:pt>
                <c:pt idx="483">
                  <c:v>34</c:v>
                </c:pt>
                <c:pt idx="484">
                  <c:v>33.700000000000003</c:v>
                </c:pt>
                <c:pt idx="485">
                  <c:v>33.799999999999997</c:v>
                </c:pt>
                <c:pt idx="486">
                  <c:v>33.799999999999997</c:v>
                </c:pt>
                <c:pt idx="487">
                  <c:v>33.799999999999997</c:v>
                </c:pt>
                <c:pt idx="488">
                  <c:v>33.799999999999997</c:v>
                </c:pt>
                <c:pt idx="489">
                  <c:v>34.5</c:v>
                </c:pt>
                <c:pt idx="490">
                  <c:v>34.299999999999997</c:v>
                </c:pt>
                <c:pt idx="491">
                  <c:v>34.5</c:v>
                </c:pt>
                <c:pt idx="492">
                  <c:v>34.4</c:v>
                </c:pt>
                <c:pt idx="493">
                  <c:v>34</c:v>
                </c:pt>
                <c:pt idx="494">
                  <c:v>34</c:v>
                </c:pt>
                <c:pt idx="495">
                  <c:v>34.5</c:v>
                </c:pt>
                <c:pt idx="496">
                  <c:v>34.6</c:v>
                </c:pt>
                <c:pt idx="497">
                  <c:v>34.6</c:v>
                </c:pt>
                <c:pt idx="498">
                  <c:v>34.6</c:v>
                </c:pt>
                <c:pt idx="499">
                  <c:v>34.6</c:v>
                </c:pt>
                <c:pt idx="500">
                  <c:v>34.6</c:v>
                </c:pt>
                <c:pt idx="501">
                  <c:v>34.799999999999997</c:v>
                </c:pt>
                <c:pt idx="502">
                  <c:v>34.5</c:v>
                </c:pt>
                <c:pt idx="503">
                  <c:v>34.700000000000003</c:v>
                </c:pt>
                <c:pt idx="504">
                  <c:v>34.6</c:v>
                </c:pt>
                <c:pt idx="505">
                  <c:v>34.5</c:v>
                </c:pt>
                <c:pt idx="506">
                  <c:v>34.700000000000003</c:v>
                </c:pt>
                <c:pt idx="507">
                  <c:v>34.5</c:v>
                </c:pt>
                <c:pt idx="508">
                  <c:v>34.799999999999997</c:v>
                </c:pt>
                <c:pt idx="509">
                  <c:v>34.1</c:v>
                </c:pt>
                <c:pt idx="510">
                  <c:v>34.700000000000003</c:v>
                </c:pt>
                <c:pt idx="511">
                  <c:v>34.799999999999997</c:v>
                </c:pt>
                <c:pt idx="512">
                  <c:v>34.799999999999997</c:v>
                </c:pt>
                <c:pt idx="513">
                  <c:v>34.799999999999997</c:v>
                </c:pt>
                <c:pt idx="514">
                  <c:v>34.799999999999997</c:v>
                </c:pt>
                <c:pt idx="515">
                  <c:v>34.4</c:v>
                </c:pt>
                <c:pt idx="516">
                  <c:v>34.799999999999997</c:v>
                </c:pt>
                <c:pt idx="517">
                  <c:v>34.799999999999997</c:v>
                </c:pt>
                <c:pt idx="518">
                  <c:v>35</c:v>
                </c:pt>
                <c:pt idx="519">
                  <c:v>34.5</c:v>
                </c:pt>
                <c:pt idx="520">
                  <c:v>34.700000000000003</c:v>
                </c:pt>
                <c:pt idx="521">
                  <c:v>34</c:v>
                </c:pt>
                <c:pt idx="522">
                  <c:v>34</c:v>
                </c:pt>
                <c:pt idx="523">
                  <c:v>34.700000000000003</c:v>
                </c:pt>
                <c:pt idx="524">
                  <c:v>35</c:v>
                </c:pt>
                <c:pt idx="525">
                  <c:v>35</c:v>
                </c:pt>
                <c:pt idx="526">
                  <c:v>35</c:v>
                </c:pt>
                <c:pt idx="527">
                  <c:v>34.6</c:v>
                </c:pt>
                <c:pt idx="528">
                  <c:v>34.9</c:v>
                </c:pt>
                <c:pt idx="529">
                  <c:v>34.200000000000003</c:v>
                </c:pt>
                <c:pt idx="530">
                  <c:v>34.4</c:v>
                </c:pt>
                <c:pt idx="531">
                  <c:v>35.200000000000003</c:v>
                </c:pt>
                <c:pt idx="532">
                  <c:v>34</c:v>
                </c:pt>
                <c:pt idx="533">
                  <c:v>33.4</c:v>
                </c:pt>
                <c:pt idx="534">
                  <c:v>33.700000000000003</c:v>
                </c:pt>
                <c:pt idx="535">
                  <c:v>33.5</c:v>
                </c:pt>
                <c:pt idx="536">
                  <c:v>33</c:v>
                </c:pt>
                <c:pt idx="537">
                  <c:v>32.200000000000003</c:v>
                </c:pt>
                <c:pt idx="538">
                  <c:v>32.299999999999997</c:v>
                </c:pt>
                <c:pt idx="539">
                  <c:v>32.299999999999997</c:v>
                </c:pt>
                <c:pt idx="540">
                  <c:v>32</c:v>
                </c:pt>
                <c:pt idx="541">
                  <c:v>32.5</c:v>
                </c:pt>
                <c:pt idx="542">
                  <c:v>31.5</c:v>
                </c:pt>
                <c:pt idx="543">
                  <c:v>32.200000000000003</c:v>
                </c:pt>
                <c:pt idx="544">
                  <c:v>32</c:v>
                </c:pt>
                <c:pt idx="545">
                  <c:v>32.1</c:v>
                </c:pt>
                <c:pt idx="546">
                  <c:v>32</c:v>
                </c:pt>
                <c:pt idx="547">
                  <c:v>32</c:v>
                </c:pt>
                <c:pt idx="548">
                  <c:v>32.200000000000003</c:v>
                </c:pt>
                <c:pt idx="549">
                  <c:v>32.200000000000003</c:v>
                </c:pt>
                <c:pt idx="550">
                  <c:v>32.1</c:v>
                </c:pt>
                <c:pt idx="551">
                  <c:v>32</c:v>
                </c:pt>
                <c:pt idx="552">
                  <c:v>31.9</c:v>
                </c:pt>
                <c:pt idx="553">
                  <c:v>31.9</c:v>
                </c:pt>
                <c:pt idx="554">
                  <c:v>31.4</c:v>
                </c:pt>
                <c:pt idx="555">
                  <c:v>31.9</c:v>
                </c:pt>
                <c:pt idx="556">
                  <c:v>31.8</c:v>
                </c:pt>
                <c:pt idx="557">
                  <c:v>31.5</c:v>
                </c:pt>
                <c:pt idx="558">
                  <c:v>30.6</c:v>
                </c:pt>
                <c:pt idx="559">
                  <c:v>32</c:v>
                </c:pt>
                <c:pt idx="560">
                  <c:v>30.9</c:v>
                </c:pt>
                <c:pt idx="561">
                  <c:v>31.1</c:v>
                </c:pt>
                <c:pt idx="562">
                  <c:v>31.5</c:v>
                </c:pt>
                <c:pt idx="563">
                  <c:v>31.2</c:v>
                </c:pt>
                <c:pt idx="564">
                  <c:v>31.2</c:v>
                </c:pt>
                <c:pt idx="565">
                  <c:v>31.9</c:v>
                </c:pt>
                <c:pt idx="566">
                  <c:v>31</c:v>
                </c:pt>
                <c:pt idx="567">
                  <c:v>31</c:v>
                </c:pt>
                <c:pt idx="568">
                  <c:v>30</c:v>
                </c:pt>
                <c:pt idx="569">
                  <c:v>29.8</c:v>
                </c:pt>
                <c:pt idx="570">
                  <c:v>30</c:v>
                </c:pt>
                <c:pt idx="571">
                  <c:v>29</c:v>
                </c:pt>
                <c:pt idx="572">
                  <c:v>29.5</c:v>
                </c:pt>
                <c:pt idx="573">
                  <c:v>29.3</c:v>
                </c:pt>
                <c:pt idx="574">
                  <c:v>29.1</c:v>
                </c:pt>
                <c:pt idx="575">
                  <c:v>29.1</c:v>
                </c:pt>
                <c:pt idx="576">
                  <c:v>29.2</c:v>
                </c:pt>
                <c:pt idx="577">
                  <c:v>29</c:v>
                </c:pt>
                <c:pt idx="578">
                  <c:v>29.1</c:v>
                </c:pt>
                <c:pt idx="579">
                  <c:v>28.9</c:v>
                </c:pt>
                <c:pt idx="580">
                  <c:v>29</c:v>
                </c:pt>
                <c:pt idx="581">
                  <c:v>28.7</c:v>
                </c:pt>
                <c:pt idx="582">
                  <c:v>29.3</c:v>
                </c:pt>
                <c:pt idx="583">
                  <c:v>29.4</c:v>
                </c:pt>
                <c:pt idx="584">
                  <c:v>29</c:v>
                </c:pt>
                <c:pt idx="585">
                  <c:v>29.2</c:v>
                </c:pt>
                <c:pt idx="586">
                  <c:v>29.2</c:v>
                </c:pt>
                <c:pt idx="587">
                  <c:v>29</c:v>
                </c:pt>
                <c:pt idx="588">
                  <c:v>29</c:v>
                </c:pt>
                <c:pt idx="589">
                  <c:v>29.5</c:v>
                </c:pt>
                <c:pt idx="590">
                  <c:v>29.5</c:v>
                </c:pt>
                <c:pt idx="591">
                  <c:v>29.2</c:v>
                </c:pt>
                <c:pt idx="592">
                  <c:v>29.4</c:v>
                </c:pt>
                <c:pt idx="593">
                  <c:v>29.4</c:v>
                </c:pt>
                <c:pt idx="594">
                  <c:v>29.7</c:v>
                </c:pt>
                <c:pt idx="595">
                  <c:v>28.8</c:v>
                </c:pt>
                <c:pt idx="596">
                  <c:v>28.3</c:v>
                </c:pt>
                <c:pt idx="597">
                  <c:v>27.9</c:v>
                </c:pt>
                <c:pt idx="598">
                  <c:v>27.9</c:v>
                </c:pt>
                <c:pt idx="599">
                  <c:v>27.8</c:v>
                </c:pt>
                <c:pt idx="600">
                  <c:v>27.5</c:v>
                </c:pt>
                <c:pt idx="601">
                  <c:v>27.3</c:v>
                </c:pt>
                <c:pt idx="602">
                  <c:v>27.9</c:v>
                </c:pt>
                <c:pt idx="603">
                  <c:v>27.6</c:v>
                </c:pt>
                <c:pt idx="604">
                  <c:v>28</c:v>
                </c:pt>
                <c:pt idx="605">
                  <c:v>27.2</c:v>
                </c:pt>
                <c:pt idx="606">
                  <c:v>27.2</c:v>
                </c:pt>
                <c:pt idx="607">
                  <c:v>27.4</c:v>
                </c:pt>
                <c:pt idx="608">
                  <c:v>27</c:v>
                </c:pt>
                <c:pt idx="609">
                  <c:v>27</c:v>
                </c:pt>
                <c:pt idx="610">
                  <c:v>27.3</c:v>
                </c:pt>
                <c:pt idx="611">
                  <c:v>26.8</c:v>
                </c:pt>
                <c:pt idx="612">
                  <c:v>26.8</c:v>
                </c:pt>
                <c:pt idx="613">
                  <c:v>26.4</c:v>
                </c:pt>
                <c:pt idx="614">
                  <c:v>26.8</c:v>
                </c:pt>
                <c:pt idx="615">
                  <c:v>26.8</c:v>
                </c:pt>
                <c:pt idx="616">
                  <c:v>26.8</c:v>
                </c:pt>
                <c:pt idx="617">
                  <c:v>26.1</c:v>
                </c:pt>
                <c:pt idx="618">
                  <c:v>26.9</c:v>
                </c:pt>
                <c:pt idx="619">
                  <c:v>27</c:v>
                </c:pt>
                <c:pt idx="620">
                  <c:v>27.2</c:v>
                </c:pt>
                <c:pt idx="621">
                  <c:v>27.3</c:v>
                </c:pt>
                <c:pt idx="622">
                  <c:v>27</c:v>
                </c:pt>
                <c:pt idx="623">
                  <c:v>29</c:v>
                </c:pt>
                <c:pt idx="624">
                  <c:v>28.7</c:v>
                </c:pt>
                <c:pt idx="625">
                  <c:v>28.6</c:v>
                </c:pt>
                <c:pt idx="626">
                  <c:v>29</c:v>
                </c:pt>
                <c:pt idx="627">
                  <c:v>29</c:v>
                </c:pt>
                <c:pt idx="628">
                  <c:v>28.6</c:v>
                </c:pt>
                <c:pt idx="629">
                  <c:v>29</c:v>
                </c:pt>
                <c:pt idx="630">
                  <c:v>28.9</c:v>
                </c:pt>
                <c:pt idx="631">
                  <c:v>28.6</c:v>
                </c:pt>
                <c:pt idx="632">
                  <c:v>28.6</c:v>
                </c:pt>
                <c:pt idx="633">
                  <c:v>28.7</c:v>
                </c:pt>
                <c:pt idx="634">
                  <c:v>28.8</c:v>
                </c:pt>
                <c:pt idx="635">
                  <c:v>28.7</c:v>
                </c:pt>
                <c:pt idx="636">
                  <c:v>28.9</c:v>
                </c:pt>
                <c:pt idx="637">
                  <c:v>28.9</c:v>
                </c:pt>
                <c:pt idx="638">
                  <c:v>29</c:v>
                </c:pt>
                <c:pt idx="639">
                  <c:v>29.7</c:v>
                </c:pt>
                <c:pt idx="640">
                  <c:v>29.7</c:v>
                </c:pt>
                <c:pt idx="641">
                  <c:v>29.2</c:v>
                </c:pt>
                <c:pt idx="642">
                  <c:v>29.8</c:v>
                </c:pt>
                <c:pt idx="643">
                  <c:v>30</c:v>
                </c:pt>
                <c:pt idx="644">
                  <c:v>29.8</c:v>
                </c:pt>
                <c:pt idx="645">
                  <c:v>30</c:v>
                </c:pt>
                <c:pt idx="646">
                  <c:v>29.9</c:v>
                </c:pt>
                <c:pt idx="647">
                  <c:v>29.5</c:v>
                </c:pt>
                <c:pt idx="648">
                  <c:v>29.8</c:v>
                </c:pt>
                <c:pt idx="649">
                  <c:v>30.1</c:v>
                </c:pt>
                <c:pt idx="650">
                  <c:v>30</c:v>
                </c:pt>
                <c:pt idx="651">
                  <c:v>29.2</c:v>
                </c:pt>
                <c:pt idx="652">
                  <c:v>29.8</c:v>
                </c:pt>
                <c:pt idx="653">
                  <c:v>29.6</c:v>
                </c:pt>
                <c:pt idx="654">
                  <c:v>29.7</c:v>
                </c:pt>
                <c:pt idx="655">
                  <c:v>29.1</c:v>
                </c:pt>
                <c:pt idx="656">
                  <c:v>28.9</c:v>
                </c:pt>
                <c:pt idx="657">
                  <c:v>28.8</c:v>
                </c:pt>
                <c:pt idx="658">
                  <c:v>28.2</c:v>
                </c:pt>
                <c:pt idx="659">
                  <c:v>27.7</c:v>
                </c:pt>
                <c:pt idx="660">
                  <c:v>28</c:v>
                </c:pt>
                <c:pt idx="661">
                  <c:v>28</c:v>
                </c:pt>
                <c:pt idx="662">
                  <c:v>27.7</c:v>
                </c:pt>
                <c:pt idx="663">
                  <c:v>28</c:v>
                </c:pt>
                <c:pt idx="664">
                  <c:v>27.8</c:v>
                </c:pt>
                <c:pt idx="665">
                  <c:v>27.6</c:v>
                </c:pt>
                <c:pt idx="666">
                  <c:v>27.6</c:v>
                </c:pt>
                <c:pt idx="667">
                  <c:v>27.6</c:v>
                </c:pt>
                <c:pt idx="668">
                  <c:v>27.6</c:v>
                </c:pt>
                <c:pt idx="669">
                  <c:v>27.8</c:v>
                </c:pt>
                <c:pt idx="670">
                  <c:v>27.8</c:v>
                </c:pt>
                <c:pt idx="671">
                  <c:v>27.7</c:v>
                </c:pt>
                <c:pt idx="672">
                  <c:v>27.8</c:v>
                </c:pt>
                <c:pt idx="673">
                  <c:v>27.8</c:v>
                </c:pt>
                <c:pt idx="674">
                  <c:v>27.6</c:v>
                </c:pt>
                <c:pt idx="675">
                  <c:v>27.3</c:v>
                </c:pt>
                <c:pt idx="676">
                  <c:v>27.1</c:v>
                </c:pt>
                <c:pt idx="677">
                  <c:v>27.4</c:v>
                </c:pt>
                <c:pt idx="678">
                  <c:v>27.4</c:v>
                </c:pt>
                <c:pt idx="679">
                  <c:v>27.5</c:v>
                </c:pt>
                <c:pt idx="680">
                  <c:v>27.5</c:v>
                </c:pt>
                <c:pt idx="681">
                  <c:v>27.5</c:v>
                </c:pt>
                <c:pt idx="682">
                  <c:v>27.5</c:v>
                </c:pt>
                <c:pt idx="683">
                  <c:v>27.2</c:v>
                </c:pt>
                <c:pt idx="684">
                  <c:v>27.5</c:v>
                </c:pt>
                <c:pt idx="685">
                  <c:v>27.5</c:v>
                </c:pt>
                <c:pt idx="686">
                  <c:v>26.9</c:v>
                </c:pt>
                <c:pt idx="687">
                  <c:v>27.5</c:v>
                </c:pt>
                <c:pt idx="688">
                  <c:v>27.7</c:v>
                </c:pt>
                <c:pt idx="689">
                  <c:v>27.7</c:v>
                </c:pt>
                <c:pt idx="690">
                  <c:v>27.7</c:v>
                </c:pt>
                <c:pt idx="691">
                  <c:v>27.5</c:v>
                </c:pt>
                <c:pt idx="692">
                  <c:v>27.1</c:v>
                </c:pt>
                <c:pt idx="693">
                  <c:v>27.5</c:v>
                </c:pt>
                <c:pt idx="694">
                  <c:v>26.8</c:v>
                </c:pt>
                <c:pt idx="695">
                  <c:v>27.2</c:v>
                </c:pt>
                <c:pt idx="696">
                  <c:v>27.2</c:v>
                </c:pt>
                <c:pt idx="697">
                  <c:v>27.1</c:v>
                </c:pt>
                <c:pt idx="698">
                  <c:v>27.1</c:v>
                </c:pt>
                <c:pt idx="699">
                  <c:v>26.9</c:v>
                </c:pt>
                <c:pt idx="700">
                  <c:v>26.9</c:v>
                </c:pt>
                <c:pt idx="701">
                  <c:v>27.2</c:v>
                </c:pt>
                <c:pt idx="702">
                  <c:v>27.1</c:v>
                </c:pt>
                <c:pt idx="703">
                  <c:v>27.5</c:v>
                </c:pt>
                <c:pt idx="704">
                  <c:v>27.7</c:v>
                </c:pt>
                <c:pt idx="705">
                  <c:v>26.6</c:v>
                </c:pt>
                <c:pt idx="706">
                  <c:v>26.7</c:v>
                </c:pt>
                <c:pt idx="707">
                  <c:v>26</c:v>
                </c:pt>
                <c:pt idx="708">
                  <c:v>26</c:v>
                </c:pt>
                <c:pt idx="709">
                  <c:v>25.4</c:v>
                </c:pt>
                <c:pt idx="710">
                  <c:v>25.2</c:v>
                </c:pt>
                <c:pt idx="711">
                  <c:v>25.2</c:v>
                </c:pt>
                <c:pt idx="712">
                  <c:v>26</c:v>
                </c:pt>
                <c:pt idx="713">
                  <c:v>25</c:v>
                </c:pt>
                <c:pt idx="714">
                  <c:v>25</c:v>
                </c:pt>
                <c:pt idx="715">
                  <c:v>25.4</c:v>
                </c:pt>
                <c:pt idx="716">
                  <c:v>25.6</c:v>
                </c:pt>
                <c:pt idx="717">
                  <c:v>24.2</c:v>
                </c:pt>
                <c:pt idx="718">
                  <c:v>24.2</c:v>
                </c:pt>
                <c:pt idx="719">
                  <c:v>24.2</c:v>
                </c:pt>
                <c:pt idx="720">
                  <c:v>24.1</c:v>
                </c:pt>
                <c:pt idx="721">
                  <c:v>24.5</c:v>
                </c:pt>
                <c:pt idx="722">
                  <c:v>23</c:v>
                </c:pt>
                <c:pt idx="723">
                  <c:v>22.8</c:v>
                </c:pt>
                <c:pt idx="724">
                  <c:v>23</c:v>
                </c:pt>
                <c:pt idx="725">
                  <c:v>22.9</c:v>
                </c:pt>
                <c:pt idx="726">
                  <c:v>22.6</c:v>
                </c:pt>
                <c:pt idx="727">
                  <c:v>22.8</c:v>
                </c:pt>
                <c:pt idx="728">
                  <c:v>22.4</c:v>
                </c:pt>
                <c:pt idx="729">
                  <c:v>22.9</c:v>
                </c:pt>
                <c:pt idx="730">
                  <c:v>22.8</c:v>
                </c:pt>
                <c:pt idx="731">
                  <c:v>22.8</c:v>
                </c:pt>
                <c:pt idx="732">
                  <c:v>22.4</c:v>
                </c:pt>
                <c:pt idx="733">
                  <c:v>22.3</c:v>
                </c:pt>
                <c:pt idx="734">
                  <c:v>22.2</c:v>
                </c:pt>
                <c:pt idx="735">
                  <c:v>22.4</c:v>
                </c:pt>
                <c:pt idx="736">
                  <c:v>22</c:v>
                </c:pt>
                <c:pt idx="737">
                  <c:v>22</c:v>
                </c:pt>
                <c:pt idx="738">
                  <c:v>22.3</c:v>
                </c:pt>
                <c:pt idx="739">
                  <c:v>21.8</c:v>
                </c:pt>
                <c:pt idx="740">
                  <c:v>21.3</c:v>
                </c:pt>
                <c:pt idx="741">
                  <c:v>21.7</c:v>
                </c:pt>
                <c:pt idx="742">
                  <c:v>21.5</c:v>
                </c:pt>
                <c:pt idx="743">
                  <c:v>21.6</c:v>
                </c:pt>
                <c:pt idx="744">
                  <c:v>21.6</c:v>
                </c:pt>
                <c:pt idx="745">
                  <c:v>21.8</c:v>
                </c:pt>
                <c:pt idx="746">
                  <c:v>21.8</c:v>
                </c:pt>
                <c:pt idx="747">
                  <c:v>21.8</c:v>
                </c:pt>
                <c:pt idx="748">
                  <c:v>22</c:v>
                </c:pt>
                <c:pt idx="749">
                  <c:v>22.2</c:v>
                </c:pt>
                <c:pt idx="750">
                  <c:v>22</c:v>
                </c:pt>
                <c:pt idx="751">
                  <c:v>21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40073896"/>
        <c:axId val="840069584"/>
      </c:areaChart>
      <c:lineChart>
        <c:grouping val="standard"/>
        <c:varyColors val="0"/>
        <c:ser>
          <c:idx val="1"/>
          <c:order val="1"/>
          <c:tx>
            <c:strRef>
              <c:f>'Ark1'!$C$1</c:f>
              <c:strCache>
                <c:ptCount val="1"/>
                <c:pt idx="0">
                  <c:v>OSEE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Ark1'!$A$2:$A$753</c:f>
              <c:numCache>
                <c:formatCode>dd\.mm\.yy</c:formatCode>
                <c:ptCount val="752"/>
                <c:pt idx="0">
                  <c:v>43738</c:v>
                </c:pt>
                <c:pt idx="1">
                  <c:v>43735</c:v>
                </c:pt>
                <c:pt idx="2">
                  <c:v>43734</c:v>
                </c:pt>
                <c:pt idx="3">
                  <c:v>43733</c:v>
                </c:pt>
                <c:pt idx="4">
                  <c:v>43732</c:v>
                </c:pt>
                <c:pt idx="5">
                  <c:v>43731</c:v>
                </c:pt>
                <c:pt idx="6">
                  <c:v>43728</c:v>
                </c:pt>
                <c:pt idx="7">
                  <c:v>43727</c:v>
                </c:pt>
                <c:pt idx="8">
                  <c:v>43726</c:v>
                </c:pt>
                <c:pt idx="9">
                  <c:v>43725</c:v>
                </c:pt>
                <c:pt idx="10">
                  <c:v>43724</c:v>
                </c:pt>
                <c:pt idx="11">
                  <c:v>43721</c:v>
                </c:pt>
                <c:pt idx="12">
                  <c:v>43720</c:v>
                </c:pt>
                <c:pt idx="13">
                  <c:v>43719</c:v>
                </c:pt>
                <c:pt idx="14">
                  <c:v>43718</c:v>
                </c:pt>
                <c:pt idx="15">
                  <c:v>43717</c:v>
                </c:pt>
                <c:pt idx="16">
                  <c:v>43714</c:v>
                </c:pt>
                <c:pt idx="17">
                  <c:v>43713</c:v>
                </c:pt>
                <c:pt idx="18">
                  <c:v>43712</c:v>
                </c:pt>
                <c:pt idx="19">
                  <c:v>43711</c:v>
                </c:pt>
                <c:pt idx="20">
                  <c:v>43710</c:v>
                </c:pt>
                <c:pt idx="21">
                  <c:v>43707</c:v>
                </c:pt>
                <c:pt idx="22">
                  <c:v>43706</c:v>
                </c:pt>
                <c:pt idx="23">
                  <c:v>43705</c:v>
                </c:pt>
                <c:pt idx="24">
                  <c:v>43704</c:v>
                </c:pt>
                <c:pt idx="25">
                  <c:v>43703</c:v>
                </c:pt>
                <c:pt idx="26">
                  <c:v>43700</c:v>
                </c:pt>
                <c:pt idx="27">
                  <c:v>43699</c:v>
                </c:pt>
                <c:pt idx="28">
                  <c:v>43698</c:v>
                </c:pt>
                <c:pt idx="29">
                  <c:v>43697</c:v>
                </c:pt>
                <c:pt idx="30">
                  <c:v>43696</c:v>
                </c:pt>
                <c:pt idx="31">
                  <c:v>43693</c:v>
                </c:pt>
                <c:pt idx="32">
                  <c:v>43692</c:v>
                </c:pt>
                <c:pt idx="33">
                  <c:v>43691</c:v>
                </c:pt>
                <c:pt idx="34">
                  <c:v>43690</c:v>
                </c:pt>
                <c:pt idx="35">
                  <c:v>43689</c:v>
                </c:pt>
                <c:pt idx="36">
                  <c:v>43686</c:v>
                </c:pt>
                <c:pt idx="37">
                  <c:v>43685</c:v>
                </c:pt>
                <c:pt idx="38">
                  <c:v>43684</c:v>
                </c:pt>
                <c:pt idx="39">
                  <c:v>43683</c:v>
                </c:pt>
                <c:pt idx="40">
                  <c:v>43682</c:v>
                </c:pt>
                <c:pt idx="41">
                  <c:v>43679</c:v>
                </c:pt>
                <c:pt idx="42">
                  <c:v>43678</c:v>
                </c:pt>
                <c:pt idx="43">
                  <c:v>43677</c:v>
                </c:pt>
                <c:pt idx="44">
                  <c:v>43676</c:v>
                </c:pt>
                <c:pt idx="45">
                  <c:v>43675</c:v>
                </c:pt>
                <c:pt idx="46">
                  <c:v>43672</c:v>
                </c:pt>
                <c:pt idx="47">
                  <c:v>43671</c:v>
                </c:pt>
                <c:pt idx="48">
                  <c:v>43670</c:v>
                </c:pt>
                <c:pt idx="49">
                  <c:v>43669</c:v>
                </c:pt>
                <c:pt idx="50">
                  <c:v>43668</c:v>
                </c:pt>
                <c:pt idx="51">
                  <c:v>43665</c:v>
                </c:pt>
                <c:pt idx="52">
                  <c:v>43664</c:v>
                </c:pt>
                <c:pt idx="53">
                  <c:v>43663</c:v>
                </c:pt>
                <c:pt idx="54">
                  <c:v>43662</c:v>
                </c:pt>
                <c:pt idx="55">
                  <c:v>43661</c:v>
                </c:pt>
                <c:pt idx="56">
                  <c:v>43658</c:v>
                </c:pt>
                <c:pt idx="57">
                  <c:v>43657</c:v>
                </c:pt>
                <c:pt idx="58">
                  <c:v>43656</c:v>
                </c:pt>
                <c:pt idx="59">
                  <c:v>43655</c:v>
                </c:pt>
                <c:pt idx="60">
                  <c:v>43654</c:v>
                </c:pt>
                <c:pt idx="61">
                  <c:v>43651</c:v>
                </c:pt>
                <c:pt idx="62">
                  <c:v>43650</c:v>
                </c:pt>
                <c:pt idx="63">
                  <c:v>43649</c:v>
                </c:pt>
                <c:pt idx="64">
                  <c:v>43648</c:v>
                </c:pt>
                <c:pt idx="65">
                  <c:v>43647</c:v>
                </c:pt>
                <c:pt idx="66">
                  <c:v>43644</c:v>
                </c:pt>
                <c:pt idx="67">
                  <c:v>43643</c:v>
                </c:pt>
                <c:pt idx="68">
                  <c:v>43642</c:v>
                </c:pt>
                <c:pt idx="69">
                  <c:v>43641</c:v>
                </c:pt>
                <c:pt idx="70">
                  <c:v>43640</c:v>
                </c:pt>
                <c:pt idx="71">
                  <c:v>43637</c:v>
                </c:pt>
                <c:pt idx="72">
                  <c:v>43636</c:v>
                </c:pt>
                <c:pt idx="73">
                  <c:v>43635</c:v>
                </c:pt>
                <c:pt idx="74">
                  <c:v>43634</c:v>
                </c:pt>
                <c:pt idx="75">
                  <c:v>43633</c:v>
                </c:pt>
                <c:pt idx="76">
                  <c:v>43630</c:v>
                </c:pt>
                <c:pt idx="77">
                  <c:v>43629</c:v>
                </c:pt>
                <c:pt idx="78">
                  <c:v>43628</c:v>
                </c:pt>
                <c:pt idx="79">
                  <c:v>43627</c:v>
                </c:pt>
                <c:pt idx="80">
                  <c:v>43623</c:v>
                </c:pt>
                <c:pt idx="81">
                  <c:v>43622</c:v>
                </c:pt>
                <c:pt idx="82">
                  <c:v>43621</c:v>
                </c:pt>
                <c:pt idx="83">
                  <c:v>43620</c:v>
                </c:pt>
                <c:pt idx="84">
                  <c:v>43619</c:v>
                </c:pt>
                <c:pt idx="85">
                  <c:v>43616</c:v>
                </c:pt>
                <c:pt idx="86">
                  <c:v>43614</c:v>
                </c:pt>
                <c:pt idx="87">
                  <c:v>43613</c:v>
                </c:pt>
                <c:pt idx="88">
                  <c:v>43612</c:v>
                </c:pt>
                <c:pt idx="89">
                  <c:v>43609</c:v>
                </c:pt>
                <c:pt idx="90">
                  <c:v>43608</c:v>
                </c:pt>
                <c:pt idx="91">
                  <c:v>43607</c:v>
                </c:pt>
                <c:pt idx="92">
                  <c:v>43606</c:v>
                </c:pt>
                <c:pt idx="93">
                  <c:v>43605</c:v>
                </c:pt>
                <c:pt idx="94">
                  <c:v>43601</c:v>
                </c:pt>
                <c:pt idx="95">
                  <c:v>43600</c:v>
                </c:pt>
                <c:pt idx="96">
                  <c:v>43599</c:v>
                </c:pt>
                <c:pt idx="97">
                  <c:v>43598</c:v>
                </c:pt>
                <c:pt idx="98">
                  <c:v>43595</c:v>
                </c:pt>
                <c:pt idx="99">
                  <c:v>43594</c:v>
                </c:pt>
                <c:pt idx="100">
                  <c:v>43593</c:v>
                </c:pt>
                <c:pt idx="101">
                  <c:v>43592</c:v>
                </c:pt>
                <c:pt idx="102">
                  <c:v>43591</c:v>
                </c:pt>
                <c:pt idx="103">
                  <c:v>43588</c:v>
                </c:pt>
                <c:pt idx="104">
                  <c:v>43587</c:v>
                </c:pt>
                <c:pt idx="105">
                  <c:v>43585</c:v>
                </c:pt>
                <c:pt idx="106">
                  <c:v>43584</c:v>
                </c:pt>
                <c:pt idx="107">
                  <c:v>43581</c:v>
                </c:pt>
                <c:pt idx="108">
                  <c:v>43580</c:v>
                </c:pt>
                <c:pt idx="109">
                  <c:v>43579</c:v>
                </c:pt>
                <c:pt idx="110">
                  <c:v>43578</c:v>
                </c:pt>
                <c:pt idx="111">
                  <c:v>43572</c:v>
                </c:pt>
                <c:pt idx="112">
                  <c:v>43571</c:v>
                </c:pt>
                <c:pt idx="113">
                  <c:v>43570</c:v>
                </c:pt>
                <c:pt idx="114">
                  <c:v>43567</c:v>
                </c:pt>
                <c:pt idx="115">
                  <c:v>43566</c:v>
                </c:pt>
                <c:pt idx="116">
                  <c:v>43565</c:v>
                </c:pt>
                <c:pt idx="117">
                  <c:v>43564</c:v>
                </c:pt>
                <c:pt idx="118">
                  <c:v>43563</c:v>
                </c:pt>
                <c:pt idx="119">
                  <c:v>43560</c:v>
                </c:pt>
                <c:pt idx="120">
                  <c:v>43559</c:v>
                </c:pt>
                <c:pt idx="121">
                  <c:v>43558</c:v>
                </c:pt>
                <c:pt idx="122">
                  <c:v>43557</c:v>
                </c:pt>
                <c:pt idx="123">
                  <c:v>43556</c:v>
                </c:pt>
                <c:pt idx="124">
                  <c:v>43553</c:v>
                </c:pt>
                <c:pt idx="125">
                  <c:v>43552</c:v>
                </c:pt>
                <c:pt idx="126">
                  <c:v>43551</c:v>
                </c:pt>
                <c:pt idx="127">
                  <c:v>43550</c:v>
                </c:pt>
                <c:pt idx="128">
                  <c:v>43549</c:v>
                </c:pt>
                <c:pt idx="129">
                  <c:v>43546</c:v>
                </c:pt>
                <c:pt idx="130">
                  <c:v>43545</c:v>
                </c:pt>
                <c:pt idx="131">
                  <c:v>43544</c:v>
                </c:pt>
                <c:pt idx="132">
                  <c:v>43543</c:v>
                </c:pt>
                <c:pt idx="133">
                  <c:v>43542</c:v>
                </c:pt>
                <c:pt idx="134">
                  <c:v>43539</c:v>
                </c:pt>
                <c:pt idx="135">
                  <c:v>43538</c:v>
                </c:pt>
                <c:pt idx="136">
                  <c:v>43537</c:v>
                </c:pt>
                <c:pt idx="137">
                  <c:v>43536</c:v>
                </c:pt>
                <c:pt idx="138">
                  <c:v>43535</c:v>
                </c:pt>
                <c:pt idx="139">
                  <c:v>43532</c:v>
                </c:pt>
                <c:pt idx="140">
                  <c:v>43531</c:v>
                </c:pt>
                <c:pt idx="141">
                  <c:v>43530</c:v>
                </c:pt>
                <c:pt idx="142">
                  <c:v>43529</c:v>
                </c:pt>
                <c:pt idx="143">
                  <c:v>43528</c:v>
                </c:pt>
                <c:pt idx="144">
                  <c:v>43525</c:v>
                </c:pt>
                <c:pt idx="145">
                  <c:v>43524</c:v>
                </c:pt>
                <c:pt idx="146">
                  <c:v>43523</c:v>
                </c:pt>
                <c:pt idx="147">
                  <c:v>43522</c:v>
                </c:pt>
                <c:pt idx="148">
                  <c:v>43521</c:v>
                </c:pt>
                <c:pt idx="149">
                  <c:v>43518</c:v>
                </c:pt>
                <c:pt idx="150">
                  <c:v>43517</c:v>
                </c:pt>
                <c:pt idx="151">
                  <c:v>43516</c:v>
                </c:pt>
                <c:pt idx="152">
                  <c:v>43515</c:v>
                </c:pt>
                <c:pt idx="153">
                  <c:v>43514</c:v>
                </c:pt>
                <c:pt idx="154">
                  <c:v>43511</c:v>
                </c:pt>
                <c:pt idx="155">
                  <c:v>43510</c:v>
                </c:pt>
                <c:pt idx="156">
                  <c:v>43509</c:v>
                </c:pt>
                <c:pt idx="157">
                  <c:v>43508</c:v>
                </c:pt>
                <c:pt idx="158">
                  <c:v>43507</c:v>
                </c:pt>
                <c:pt idx="159">
                  <c:v>43504</c:v>
                </c:pt>
                <c:pt idx="160">
                  <c:v>43503</c:v>
                </c:pt>
                <c:pt idx="161">
                  <c:v>43502</c:v>
                </c:pt>
                <c:pt idx="162">
                  <c:v>43501</c:v>
                </c:pt>
                <c:pt idx="163">
                  <c:v>43500</c:v>
                </c:pt>
                <c:pt idx="164">
                  <c:v>43497</c:v>
                </c:pt>
                <c:pt idx="165">
                  <c:v>43496</c:v>
                </c:pt>
                <c:pt idx="166">
                  <c:v>43495</c:v>
                </c:pt>
                <c:pt idx="167">
                  <c:v>43494</c:v>
                </c:pt>
                <c:pt idx="168">
                  <c:v>43493</c:v>
                </c:pt>
                <c:pt idx="169">
                  <c:v>43490</c:v>
                </c:pt>
                <c:pt idx="170">
                  <c:v>43489</c:v>
                </c:pt>
                <c:pt idx="171">
                  <c:v>43488</c:v>
                </c:pt>
                <c:pt idx="172">
                  <c:v>43487</c:v>
                </c:pt>
                <c:pt idx="173">
                  <c:v>43486</c:v>
                </c:pt>
                <c:pt idx="174">
                  <c:v>43483</c:v>
                </c:pt>
                <c:pt idx="175">
                  <c:v>43482</c:v>
                </c:pt>
                <c:pt idx="176">
                  <c:v>43481</c:v>
                </c:pt>
                <c:pt idx="177">
                  <c:v>43480</c:v>
                </c:pt>
                <c:pt idx="178">
                  <c:v>43479</c:v>
                </c:pt>
                <c:pt idx="179">
                  <c:v>43476</c:v>
                </c:pt>
                <c:pt idx="180">
                  <c:v>43475</c:v>
                </c:pt>
                <c:pt idx="181">
                  <c:v>43474</c:v>
                </c:pt>
                <c:pt idx="182">
                  <c:v>43473</c:v>
                </c:pt>
                <c:pt idx="183">
                  <c:v>43472</c:v>
                </c:pt>
                <c:pt idx="184">
                  <c:v>43469</c:v>
                </c:pt>
                <c:pt idx="185">
                  <c:v>43468</c:v>
                </c:pt>
                <c:pt idx="186">
                  <c:v>43467</c:v>
                </c:pt>
                <c:pt idx="187">
                  <c:v>43462</c:v>
                </c:pt>
                <c:pt idx="188">
                  <c:v>43461</c:v>
                </c:pt>
                <c:pt idx="189">
                  <c:v>43455</c:v>
                </c:pt>
                <c:pt idx="190">
                  <c:v>43454</c:v>
                </c:pt>
                <c:pt idx="191">
                  <c:v>43453</c:v>
                </c:pt>
                <c:pt idx="192">
                  <c:v>43452</c:v>
                </c:pt>
                <c:pt idx="193">
                  <c:v>43451</c:v>
                </c:pt>
                <c:pt idx="194">
                  <c:v>43448</c:v>
                </c:pt>
                <c:pt idx="195">
                  <c:v>43447</c:v>
                </c:pt>
                <c:pt idx="196">
                  <c:v>43446</c:v>
                </c:pt>
                <c:pt idx="197">
                  <c:v>43445</c:v>
                </c:pt>
                <c:pt idx="198">
                  <c:v>43444</c:v>
                </c:pt>
                <c:pt idx="199">
                  <c:v>43441</c:v>
                </c:pt>
                <c:pt idx="200">
                  <c:v>43440</c:v>
                </c:pt>
                <c:pt idx="201">
                  <c:v>43439</c:v>
                </c:pt>
                <c:pt idx="202">
                  <c:v>43438</c:v>
                </c:pt>
                <c:pt idx="203">
                  <c:v>43437</c:v>
                </c:pt>
                <c:pt idx="204">
                  <c:v>43434</c:v>
                </c:pt>
                <c:pt idx="205">
                  <c:v>43433</c:v>
                </c:pt>
                <c:pt idx="206">
                  <c:v>43432</c:v>
                </c:pt>
                <c:pt idx="207">
                  <c:v>43431</c:v>
                </c:pt>
                <c:pt idx="208">
                  <c:v>43430</c:v>
                </c:pt>
                <c:pt idx="209">
                  <c:v>43427</c:v>
                </c:pt>
                <c:pt idx="210">
                  <c:v>43426</c:v>
                </c:pt>
                <c:pt idx="211">
                  <c:v>43425</c:v>
                </c:pt>
                <c:pt idx="212">
                  <c:v>43424</c:v>
                </c:pt>
                <c:pt idx="213">
                  <c:v>43423</c:v>
                </c:pt>
                <c:pt idx="214">
                  <c:v>43420</c:v>
                </c:pt>
                <c:pt idx="215">
                  <c:v>43419</c:v>
                </c:pt>
                <c:pt idx="216">
                  <c:v>43418</c:v>
                </c:pt>
                <c:pt idx="217">
                  <c:v>43417</c:v>
                </c:pt>
                <c:pt idx="218">
                  <c:v>43416</c:v>
                </c:pt>
                <c:pt idx="219">
                  <c:v>43413</c:v>
                </c:pt>
                <c:pt idx="220">
                  <c:v>43412</c:v>
                </c:pt>
                <c:pt idx="221">
                  <c:v>43411</c:v>
                </c:pt>
                <c:pt idx="222">
                  <c:v>43410</c:v>
                </c:pt>
                <c:pt idx="223">
                  <c:v>43409</c:v>
                </c:pt>
                <c:pt idx="224">
                  <c:v>43406</c:v>
                </c:pt>
                <c:pt idx="225">
                  <c:v>43405</c:v>
                </c:pt>
                <c:pt idx="226">
                  <c:v>43404</c:v>
                </c:pt>
                <c:pt idx="227">
                  <c:v>43403</c:v>
                </c:pt>
                <c:pt idx="228">
                  <c:v>43402</c:v>
                </c:pt>
                <c:pt idx="229">
                  <c:v>43399</c:v>
                </c:pt>
                <c:pt idx="230">
                  <c:v>43398</c:v>
                </c:pt>
                <c:pt idx="231">
                  <c:v>43397</c:v>
                </c:pt>
                <c:pt idx="232">
                  <c:v>43396</c:v>
                </c:pt>
                <c:pt idx="233">
                  <c:v>43395</c:v>
                </c:pt>
                <c:pt idx="234">
                  <c:v>43392</c:v>
                </c:pt>
                <c:pt idx="235">
                  <c:v>43391</c:v>
                </c:pt>
                <c:pt idx="236">
                  <c:v>43390</c:v>
                </c:pt>
                <c:pt idx="237">
                  <c:v>43389</c:v>
                </c:pt>
                <c:pt idx="238">
                  <c:v>43388</c:v>
                </c:pt>
                <c:pt idx="239">
                  <c:v>43385</c:v>
                </c:pt>
                <c:pt idx="240">
                  <c:v>43384</c:v>
                </c:pt>
                <c:pt idx="241">
                  <c:v>43383</c:v>
                </c:pt>
                <c:pt idx="242">
                  <c:v>43382</c:v>
                </c:pt>
                <c:pt idx="243">
                  <c:v>43381</c:v>
                </c:pt>
                <c:pt idx="244">
                  <c:v>43378</c:v>
                </c:pt>
                <c:pt idx="245">
                  <c:v>43377</c:v>
                </c:pt>
                <c:pt idx="246">
                  <c:v>43376</c:v>
                </c:pt>
                <c:pt idx="247">
                  <c:v>43375</c:v>
                </c:pt>
                <c:pt idx="248">
                  <c:v>43374</c:v>
                </c:pt>
                <c:pt idx="249">
                  <c:v>43371</c:v>
                </c:pt>
                <c:pt idx="250">
                  <c:v>43370</c:v>
                </c:pt>
                <c:pt idx="251">
                  <c:v>43369</c:v>
                </c:pt>
                <c:pt idx="252">
                  <c:v>43368</c:v>
                </c:pt>
                <c:pt idx="253">
                  <c:v>43367</c:v>
                </c:pt>
                <c:pt idx="254">
                  <c:v>43364</c:v>
                </c:pt>
                <c:pt idx="255">
                  <c:v>43363</c:v>
                </c:pt>
                <c:pt idx="256">
                  <c:v>43362</c:v>
                </c:pt>
                <c:pt idx="257">
                  <c:v>43361</c:v>
                </c:pt>
                <c:pt idx="258">
                  <c:v>43360</c:v>
                </c:pt>
                <c:pt idx="259">
                  <c:v>43357</c:v>
                </c:pt>
                <c:pt idx="260">
                  <c:v>43356</c:v>
                </c:pt>
                <c:pt idx="261">
                  <c:v>43355</c:v>
                </c:pt>
                <c:pt idx="262">
                  <c:v>43354</c:v>
                </c:pt>
                <c:pt idx="263">
                  <c:v>43353</c:v>
                </c:pt>
                <c:pt idx="264">
                  <c:v>43350</c:v>
                </c:pt>
                <c:pt idx="265">
                  <c:v>43349</c:v>
                </c:pt>
                <c:pt idx="266">
                  <c:v>43348</c:v>
                </c:pt>
                <c:pt idx="267">
                  <c:v>43347</c:v>
                </c:pt>
                <c:pt idx="268">
                  <c:v>43346</c:v>
                </c:pt>
                <c:pt idx="269">
                  <c:v>43343</c:v>
                </c:pt>
                <c:pt idx="270">
                  <c:v>43342</c:v>
                </c:pt>
                <c:pt idx="271">
                  <c:v>43341</c:v>
                </c:pt>
                <c:pt idx="272">
                  <c:v>43340</c:v>
                </c:pt>
                <c:pt idx="273">
                  <c:v>43339</c:v>
                </c:pt>
                <c:pt idx="274">
                  <c:v>43336</c:v>
                </c:pt>
                <c:pt idx="275">
                  <c:v>43335</c:v>
                </c:pt>
                <c:pt idx="276">
                  <c:v>43334</c:v>
                </c:pt>
                <c:pt idx="277">
                  <c:v>43333</c:v>
                </c:pt>
                <c:pt idx="278">
                  <c:v>43332</c:v>
                </c:pt>
                <c:pt idx="279">
                  <c:v>43329</c:v>
                </c:pt>
                <c:pt idx="280">
                  <c:v>43328</c:v>
                </c:pt>
                <c:pt idx="281">
                  <c:v>43327</c:v>
                </c:pt>
                <c:pt idx="282">
                  <c:v>43326</c:v>
                </c:pt>
                <c:pt idx="283">
                  <c:v>43325</c:v>
                </c:pt>
                <c:pt idx="284">
                  <c:v>43322</c:v>
                </c:pt>
                <c:pt idx="285">
                  <c:v>43321</c:v>
                </c:pt>
                <c:pt idx="286">
                  <c:v>43320</c:v>
                </c:pt>
                <c:pt idx="287">
                  <c:v>43319</c:v>
                </c:pt>
                <c:pt idx="288">
                  <c:v>43318</c:v>
                </c:pt>
                <c:pt idx="289">
                  <c:v>43315</c:v>
                </c:pt>
                <c:pt idx="290">
                  <c:v>43314</c:v>
                </c:pt>
                <c:pt idx="291">
                  <c:v>43313</c:v>
                </c:pt>
                <c:pt idx="292">
                  <c:v>43312</c:v>
                </c:pt>
                <c:pt idx="293">
                  <c:v>43311</c:v>
                </c:pt>
                <c:pt idx="294">
                  <c:v>43308</c:v>
                </c:pt>
                <c:pt idx="295">
                  <c:v>43307</c:v>
                </c:pt>
                <c:pt idx="296">
                  <c:v>43306</c:v>
                </c:pt>
                <c:pt idx="297">
                  <c:v>43305</c:v>
                </c:pt>
                <c:pt idx="298">
                  <c:v>43304</c:v>
                </c:pt>
                <c:pt idx="299">
                  <c:v>43301</c:v>
                </c:pt>
                <c:pt idx="300">
                  <c:v>43300</c:v>
                </c:pt>
                <c:pt idx="301">
                  <c:v>43299</c:v>
                </c:pt>
                <c:pt idx="302">
                  <c:v>43298</c:v>
                </c:pt>
                <c:pt idx="303">
                  <c:v>43297</c:v>
                </c:pt>
                <c:pt idx="304">
                  <c:v>43294</c:v>
                </c:pt>
                <c:pt idx="305">
                  <c:v>43293</c:v>
                </c:pt>
                <c:pt idx="306">
                  <c:v>43292</c:v>
                </c:pt>
                <c:pt idx="307">
                  <c:v>43291</c:v>
                </c:pt>
                <c:pt idx="308">
                  <c:v>43290</c:v>
                </c:pt>
                <c:pt idx="309">
                  <c:v>43287</c:v>
                </c:pt>
                <c:pt idx="310">
                  <c:v>43286</c:v>
                </c:pt>
                <c:pt idx="311">
                  <c:v>43285</c:v>
                </c:pt>
                <c:pt idx="312">
                  <c:v>43284</c:v>
                </c:pt>
                <c:pt idx="313">
                  <c:v>43283</c:v>
                </c:pt>
                <c:pt idx="314">
                  <c:v>43280</c:v>
                </c:pt>
                <c:pt idx="315">
                  <c:v>43279</c:v>
                </c:pt>
                <c:pt idx="316">
                  <c:v>43278</c:v>
                </c:pt>
                <c:pt idx="317">
                  <c:v>43277</c:v>
                </c:pt>
                <c:pt idx="318">
                  <c:v>43276</c:v>
                </c:pt>
                <c:pt idx="319">
                  <c:v>43273</c:v>
                </c:pt>
                <c:pt idx="320">
                  <c:v>43272</c:v>
                </c:pt>
                <c:pt idx="321">
                  <c:v>43271</c:v>
                </c:pt>
                <c:pt idx="322">
                  <c:v>43270</c:v>
                </c:pt>
                <c:pt idx="323">
                  <c:v>43269</c:v>
                </c:pt>
                <c:pt idx="324">
                  <c:v>43266</c:v>
                </c:pt>
                <c:pt idx="325">
                  <c:v>43265</c:v>
                </c:pt>
                <c:pt idx="326">
                  <c:v>43264</c:v>
                </c:pt>
                <c:pt idx="327">
                  <c:v>43263</c:v>
                </c:pt>
                <c:pt idx="328">
                  <c:v>43262</c:v>
                </c:pt>
                <c:pt idx="329">
                  <c:v>43259</c:v>
                </c:pt>
                <c:pt idx="330">
                  <c:v>43258</c:v>
                </c:pt>
                <c:pt idx="331">
                  <c:v>43257</c:v>
                </c:pt>
                <c:pt idx="332">
                  <c:v>43256</c:v>
                </c:pt>
                <c:pt idx="333">
                  <c:v>43255</c:v>
                </c:pt>
                <c:pt idx="334">
                  <c:v>43252</c:v>
                </c:pt>
                <c:pt idx="335">
                  <c:v>43251</c:v>
                </c:pt>
                <c:pt idx="336">
                  <c:v>43250</c:v>
                </c:pt>
                <c:pt idx="337">
                  <c:v>43249</c:v>
                </c:pt>
                <c:pt idx="338">
                  <c:v>43248</c:v>
                </c:pt>
                <c:pt idx="339">
                  <c:v>43245</c:v>
                </c:pt>
                <c:pt idx="340">
                  <c:v>43244</c:v>
                </c:pt>
                <c:pt idx="341">
                  <c:v>43243</c:v>
                </c:pt>
                <c:pt idx="342">
                  <c:v>43242</c:v>
                </c:pt>
                <c:pt idx="343">
                  <c:v>43238</c:v>
                </c:pt>
                <c:pt idx="344">
                  <c:v>43236</c:v>
                </c:pt>
                <c:pt idx="345">
                  <c:v>43235</c:v>
                </c:pt>
                <c:pt idx="346">
                  <c:v>43234</c:v>
                </c:pt>
                <c:pt idx="347">
                  <c:v>43231</c:v>
                </c:pt>
                <c:pt idx="348">
                  <c:v>43229</c:v>
                </c:pt>
                <c:pt idx="349">
                  <c:v>43228</c:v>
                </c:pt>
                <c:pt idx="350">
                  <c:v>43227</c:v>
                </c:pt>
                <c:pt idx="351">
                  <c:v>43224</c:v>
                </c:pt>
                <c:pt idx="352">
                  <c:v>43223</c:v>
                </c:pt>
                <c:pt idx="353">
                  <c:v>43222</c:v>
                </c:pt>
                <c:pt idx="354">
                  <c:v>43220</c:v>
                </c:pt>
                <c:pt idx="355">
                  <c:v>43217</c:v>
                </c:pt>
                <c:pt idx="356">
                  <c:v>43216</c:v>
                </c:pt>
                <c:pt idx="357">
                  <c:v>43215</c:v>
                </c:pt>
                <c:pt idx="358">
                  <c:v>43214</c:v>
                </c:pt>
                <c:pt idx="359">
                  <c:v>43213</c:v>
                </c:pt>
                <c:pt idx="360">
                  <c:v>43210</c:v>
                </c:pt>
                <c:pt idx="361">
                  <c:v>43209</c:v>
                </c:pt>
                <c:pt idx="362">
                  <c:v>43208</c:v>
                </c:pt>
                <c:pt idx="363">
                  <c:v>43207</c:v>
                </c:pt>
                <c:pt idx="364">
                  <c:v>43206</c:v>
                </c:pt>
                <c:pt idx="365">
                  <c:v>43203</c:v>
                </c:pt>
                <c:pt idx="366">
                  <c:v>43202</c:v>
                </c:pt>
                <c:pt idx="367">
                  <c:v>43201</c:v>
                </c:pt>
                <c:pt idx="368">
                  <c:v>43200</c:v>
                </c:pt>
                <c:pt idx="369">
                  <c:v>43199</c:v>
                </c:pt>
                <c:pt idx="370">
                  <c:v>43196</c:v>
                </c:pt>
                <c:pt idx="371">
                  <c:v>43195</c:v>
                </c:pt>
                <c:pt idx="372">
                  <c:v>43194</c:v>
                </c:pt>
                <c:pt idx="373">
                  <c:v>43193</c:v>
                </c:pt>
                <c:pt idx="374">
                  <c:v>43187</c:v>
                </c:pt>
                <c:pt idx="375">
                  <c:v>43186</c:v>
                </c:pt>
                <c:pt idx="376">
                  <c:v>43185</c:v>
                </c:pt>
                <c:pt idx="377">
                  <c:v>43182</c:v>
                </c:pt>
                <c:pt idx="378">
                  <c:v>43181</c:v>
                </c:pt>
                <c:pt idx="379">
                  <c:v>43180</c:v>
                </c:pt>
                <c:pt idx="380">
                  <c:v>43179</c:v>
                </c:pt>
                <c:pt idx="381">
                  <c:v>43178</c:v>
                </c:pt>
                <c:pt idx="382">
                  <c:v>43175</c:v>
                </c:pt>
                <c:pt idx="383">
                  <c:v>43174</c:v>
                </c:pt>
                <c:pt idx="384">
                  <c:v>43173</c:v>
                </c:pt>
                <c:pt idx="385">
                  <c:v>43172</c:v>
                </c:pt>
                <c:pt idx="386">
                  <c:v>43171</c:v>
                </c:pt>
                <c:pt idx="387">
                  <c:v>43168</c:v>
                </c:pt>
                <c:pt idx="388">
                  <c:v>43167</c:v>
                </c:pt>
                <c:pt idx="389">
                  <c:v>43166</c:v>
                </c:pt>
                <c:pt idx="390">
                  <c:v>43165</c:v>
                </c:pt>
                <c:pt idx="391">
                  <c:v>43164</c:v>
                </c:pt>
                <c:pt idx="392">
                  <c:v>43161</c:v>
                </c:pt>
                <c:pt idx="393">
                  <c:v>43160</c:v>
                </c:pt>
                <c:pt idx="394">
                  <c:v>43159</c:v>
                </c:pt>
                <c:pt idx="395">
                  <c:v>43158</c:v>
                </c:pt>
                <c:pt idx="396">
                  <c:v>43157</c:v>
                </c:pt>
                <c:pt idx="397">
                  <c:v>43154</c:v>
                </c:pt>
                <c:pt idx="398">
                  <c:v>43153</c:v>
                </c:pt>
                <c:pt idx="399">
                  <c:v>43152</c:v>
                </c:pt>
                <c:pt idx="400">
                  <c:v>43151</c:v>
                </c:pt>
                <c:pt idx="401">
                  <c:v>43150</c:v>
                </c:pt>
                <c:pt idx="402">
                  <c:v>43147</c:v>
                </c:pt>
                <c:pt idx="403">
                  <c:v>43146</c:v>
                </c:pt>
                <c:pt idx="404">
                  <c:v>43145</c:v>
                </c:pt>
                <c:pt idx="405">
                  <c:v>43144</c:v>
                </c:pt>
                <c:pt idx="406">
                  <c:v>43143</c:v>
                </c:pt>
                <c:pt idx="407">
                  <c:v>43140</c:v>
                </c:pt>
                <c:pt idx="408">
                  <c:v>43139</c:v>
                </c:pt>
                <c:pt idx="409">
                  <c:v>43138</c:v>
                </c:pt>
                <c:pt idx="410">
                  <c:v>43137</c:v>
                </c:pt>
                <c:pt idx="411">
                  <c:v>43136</c:v>
                </c:pt>
                <c:pt idx="412">
                  <c:v>43133</c:v>
                </c:pt>
                <c:pt idx="413">
                  <c:v>43132</c:v>
                </c:pt>
                <c:pt idx="414">
                  <c:v>43131</c:v>
                </c:pt>
                <c:pt idx="415">
                  <c:v>43130</c:v>
                </c:pt>
                <c:pt idx="416">
                  <c:v>43129</c:v>
                </c:pt>
                <c:pt idx="417">
                  <c:v>43126</c:v>
                </c:pt>
                <c:pt idx="418">
                  <c:v>43125</c:v>
                </c:pt>
                <c:pt idx="419">
                  <c:v>43124</c:v>
                </c:pt>
                <c:pt idx="420">
                  <c:v>43123</c:v>
                </c:pt>
                <c:pt idx="421">
                  <c:v>43122</c:v>
                </c:pt>
                <c:pt idx="422">
                  <c:v>43119</c:v>
                </c:pt>
                <c:pt idx="423">
                  <c:v>43118</c:v>
                </c:pt>
                <c:pt idx="424">
                  <c:v>43117</c:v>
                </c:pt>
                <c:pt idx="425">
                  <c:v>43116</c:v>
                </c:pt>
                <c:pt idx="426">
                  <c:v>43115</c:v>
                </c:pt>
                <c:pt idx="427">
                  <c:v>43112</c:v>
                </c:pt>
                <c:pt idx="428">
                  <c:v>43111</c:v>
                </c:pt>
                <c:pt idx="429">
                  <c:v>43110</c:v>
                </c:pt>
                <c:pt idx="430">
                  <c:v>43109</c:v>
                </c:pt>
                <c:pt idx="431">
                  <c:v>43108</c:v>
                </c:pt>
                <c:pt idx="432">
                  <c:v>43105</c:v>
                </c:pt>
                <c:pt idx="433">
                  <c:v>43104</c:v>
                </c:pt>
                <c:pt idx="434">
                  <c:v>43103</c:v>
                </c:pt>
                <c:pt idx="435">
                  <c:v>43102</c:v>
                </c:pt>
                <c:pt idx="436">
                  <c:v>43098</c:v>
                </c:pt>
                <c:pt idx="437">
                  <c:v>43097</c:v>
                </c:pt>
                <c:pt idx="438">
                  <c:v>43096</c:v>
                </c:pt>
                <c:pt idx="439">
                  <c:v>43091</c:v>
                </c:pt>
                <c:pt idx="440">
                  <c:v>43090</c:v>
                </c:pt>
                <c:pt idx="441">
                  <c:v>43089</c:v>
                </c:pt>
                <c:pt idx="442">
                  <c:v>43088</c:v>
                </c:pt>
                <c:pt idx="443">
                  <c:v>43087</c:v>
                </c:pt>
                <c:pt idx="444">
                  <c:v>43084</c:v>
                </c:pt>
                <c:pt idx="445">
                  <c:v>43083</c:v>
                </c:pt>
                <c:pt idx="446">
                  <c:v>43082</c:v>
                </c:pt>
                <c:pt idx="447">
                  <c:v>43081</c:v>
                </c:pt>
                <c:pt idx="448">
                  <c:v>43080</c:v>
                </c:pt>
                <c:pt idx="449">
                  <c:v>43077</c:v>
                </c:pt>
                <c:pt idx="450">
                  <c:v>43076</c:v>
                </c:pt>
                <c:pt idx="451">
                  <c:v>43075</c:v>
                </c:pt>
                <c:pt idx="452">
                  <c:v>43074</c:v>
                </c:pt>
                <c:pt idx="453">
                  <c:v>43073</c:v>
                </c:pt>
                <c:pt idx="454">
                  <c:v>43070</c:v>
                </c:pt>
                <c:pt idx="455">
                  <c:v>43069</c:v>
                </c:pt>
                <c:pt idx="456">
                  <c:v>43068</c:v>
                </c:pt>
                <c:pt idx="457">
                  <c:v>43067</c:v>
                </c:pt>
                <c:pt idx="458">
                  <c:v>43066</c:v>
                </c:pt>
                <c:pt idx="459">
                  <c:v>43063</c:v>
                </c:pt>
                <c:pt idx="460">
                  <c:v>43062</c:v>
                </c:pt>
                <c:pt idx="461">
                  <c:v>43061</c:v>
                </c:pt>
                <c:pt idx="462">
                  <c:v>43060</c:v>
                </c:pt>
                <c:pt idx="463">
                  <c:v>43059</c:v>
                </c:pt>
                <c:pt idx="464">
                  <c:v>43056</c:v>
                </c:pt>
                <c:pt idx="465">
                  <c:v>43055</c:v>
                </c:pt>
                <c:pt idx="466">
                  <c:v>43054</c:v>
                </c:pt>
                <c:pt idx="467">
                  <c:v>43053</c:v>
                </c:pt>
                <c:pt idx="468">
                  <c:v>43052</c:v>
                </c:pt>
                <c:pt idx="469">
                  <c:v>43049</c:v>
                </c:pt>
                <c:pt idx="470">
                  <c:v>43048</c:v>
                </c:pt>
                <c:pt idx="471">
                  <c:v>43047</c:v>
                </c:pt>
                <c:pt idx="472">
                  <c:v>43046</c:v>
                </c:pt>
                <c:pt idx="473">
                  <c:v>43045</c:v>
                </c:pt>
                <c:pt idx="474">
                  <c:v>43042</c:v>
                </c:pt>
                <c:pt idx="475">
                  <c:v>43041</c:v>
                </c:pt>
                <c:pt idx="476">
                  <c:v>43040</c:v>
                </c:pt>
                <c:pt idx="477">
                  <c:v>43039</c:v>
                </c:pt>
                <c:pt idx="478">
                  <c:v>43038</c:v>
                </c:pt>
                <c:pt idx="479">
                  <c:v>43035</c:v>
                </c:pt>
                <c:pt idx="480">
                  <c:v>43034</c:v>
                </c:pt>
                <c:pt idx="481">
                  <c:v>43033</c:v>
                </c:pt>
                <c:pt idx="482">
                  <c:v>43032</c:v>
                </c:pt>
                <c:pt idx="483">
                  <c:v>43031</c:v>
                </c:pt>
                <c:pt idx="484">
                  <c:v>43028</c:v>
                </c:pt>
                <c:pt idx="485">
                  <c:v>43027</c:v>
                </c:pt>
                <c:pt idx="486">
                  <c:v>43026</c:v>
                </c:pt>
                <c:pt idx="487">
                  <c:v>43025</c:v>
                </c:pt>
                <c:pt idx="488">
                  <c:v>43024</c:v>
                </c:pt>
                <c:pt idx="489">
                  <c:v>43021</c:v>
                </c:pt>
                <c:pt idx="490">
                  <c:v>43020</c:v>
                </c:pt>
                <c:pt idx="491">
                  <c:v>43019</c:v>
                </c:pt>
                <c:pt idx="492">
                  <c:v>43018</c:v>
                </c:pt>
                <c:pt idx="493">
                  <c:v>43017</c:v>
                </c:pt>
                <c:pt idx="494">
                  <c:v>43014</c:v>
                </c:pt>
                <c:pt idx="495">
                  <c:v>43013</c:v>
                </c:pt>
                <c:pt idx="496">
                  <c:v>43012</c:v>
                </c:pt>
                <c:pt idx="497">
                  <c:v>43011</c:v>
                </c:pt>
                <c:pt idx="498">
                  <c:v>43010</c:v>
                </c:pt>
                <c:pt idx="499">
                  <c:v>43007</c:v>
                </c:pt>
                <c:pt idx="500">
                  <c:v>43006</c:v>
                </c:pt>
                <c:pt idx="501">
                  <c:v>43005</c:v>
                </c:pt>
                <c:pt idx="502">
                  <c:v>43004</c:v>
                </c:pt>
                <c:pt idx="503">
                  <c:v>43003</c:v>
                </c:pt>
                <c:pt idx="504">
                  <c:v>43000</c:v>
                </c:pt>
                <c:pt idx="505">
                  <c:v>42999</c:v>
                </c:pt>
                <c:pt idx="506">
                  <c:v>42998</c:v>
                </c:pt>
                <c:pt idx="507">
                  <c:v>42997</c:v>
                </c:pt>
                <c:pt idx="508">
                  <c:v>42996</c:v>
                </c:pt>
                <c:pt idx="509">
                  <c:v>42993</c:v>
                </c:pt>
                <c:pt idx="510">
                  <c:v>42992</c:v>
                </c:pt>
                <c:pt idx="511">
                  <c:v>42991</c:v>
                </c:pt>
                <c:pt idx="512">
                  <c:v>42990</c:v>
                </c:pt>
                <c:pt idx="513">
                  <c:v>42989</c:v>
                </c:pt>
                <c:pt idx="514">
                  <c:v>42986</c:v>
                </c:pt>
                <c:pt idx="515">
                  <c:v>42985</c:v>
                </c:pt>
                <c:pt idx="516">
                  <c:v>42984</c:v>
                </c:pt>
                <c:pt idx="517">
                  <c:v>42983</c:v>
                </c:pt>
                <c:pt idx="518">
                  <c:v>42982</c:v>
                </c:pt>
                <c:pt idx="519">
                  <c:v>42979</c:v>
                </c:pt>
                <c:pt idx="520">
                  <c:v>42978</c:v>
                </c:pt>
                <c:pt idx="521">
                  <c:v>42977</c:v>
                </c:pt>
                <c:pt idx="522">
                  <c:v>42976</c:v>
                </c:pt>
                <c:pt idx="523">
                  <c:v>42975</c:v>
                </c:pt>
                <c:pt idx="524">
                  <c:v>42972</c:v>
                </c:pt>
                <c:pt idx="525">
                  <c:v>42971</c:v>
                </c:pt>
                <c:pt idx="526">
                  <c:v>42970</c:v>
                </c:pt>
                <c:pt idx="527">
                  <c:v>42969</c:v>
                </c:pt>
                <c:pt idx="528">
                  <c:v>42968</c:v>
                </c:pt>
                <c:pt idx="529">
                  <c:v>42965</c:v>
                </c:pt>
                <c:pt idx="530">
                  <c:v>42964</c:v>
                </c:pt>
                <c:pt idx="531">
                  <c:v>42963</c:v>
                </c:pt>
                <c:pt idx="532">
                  <c:v>42962</c:v>
                </c:pt>
                <c:pt idx="533">
                  <c:v>42961</c:v>
                </c:pt>
                <c:pt idx="534">
                  <c:v>42958</c:v>
                </c:pt>
                <c:pt idx="535">
                  <c:v>42957</c:v>
                </c:pt>
                <c:pt idx="536">
                  <c:v>42956</c:v>
                </c:pt>
                <c:pt idx="537">
                  <c:v>42955</c:v>
                </c:pt>
                <c:pt idx="538">
                  <c:v>42954</c:v>
                </c:pt>
                <c:pt idx="539">
                  <c:v>42951</c:v>
                </c:pt>
                <c:pt idx="540">
                  <c:v>42950</c:v>
                </c:pt>
                <c:pt idx="541">
                  <c:v>42949</c:v>
                </c:pt>
                <c:pt idx="542">
                  <c:v>42948</c:v>
                </c:pt>
                <c:pt idx="543">
                  <c:v>42947</c:v>
                </c:pt>
                <c:pt idx="544">
                  <c:v>42944</c:v>
                </c:pt>
                <c:pt idx="545">
                  <c:v>42943</c:v>
                </c:pt>
                <c:pt idx="546">
                  <c:v>42942</c:v>
                </c:pt>
                <c:pt idx="547">
                  <c:v>42941</c:v>
                </c:pt>
                <c:pt idx="548">
                  <c:v>42940</c:v>
                </c:pt>
                <c:pt idx="549">
                  <c:v>42937</c:v>
                </c:pt>
                <c:pt idx="550">
                  <c:v>42936</c:v>
                </c:pt>
                <c:pt idx="551">
                  <c:v>42935</c:v>
                </c:pt>
                <c:pt idx="552">
                  <c:v>42934</c:v>
                </c:pt>
                <c:pt idx="553">
                  <c:v>42933</c:v>
                </c:pt>
                <c:pt idx="554">
                  <c:v>42930</c:v>
                </c:pt>
                <c:pt idx="555">
                  <c:v>42929</c:v>
                </c:pt>
                <c:pt idx="556">
                  <c:v>42928</c:v>
                </c:pt>
                <c:pt idx="557">
                  <c:v>42927</c:v>
                </c:pt>
                <c:pt idx="558">
                  <c:v>42926</c:v>
                </c:pt>
                <c:pt idx="559">
                  <c:v>42923</c:v>
                </c:pt>
                <c:pt idx="560">
                  <c:v>42922</c:v>
                </c:pt>
                <c:pt idx="561">
                  <c:v>42921</c:v>
                </c:pt>
                <c:pt idx="562">
                  <c:v>42920</c:v>
                </c:pt>
                <c:pt idx="563">
                  <c:v>42919</c:v>
                </c:pt>
                <c:pt idx="564">
                  <c:v>42916</c:v>
                </c:pt>
                <c:pt idx="565">
                  <c:v>42915</c:v>
                </c:pt>
                <c:pt idx="566">
                  <c:v>42914</c:v>
                </c:pt>
                <c:pt idx="567">
                  <c:v>42913</c:v>
                </c:pt>
                <c:pt idx="568">
                  <c:v>42912</c:v>
                </c:pt>
                <c:pt idx="569">
                  <c:v>42909</c:v>
                </c:pt>
                <c:pt idx="570">
                  <c:v>42908</c:v>
                </c:pt>
                <c:pt idx="571">
                  <c:v>42907</c:v>
                </c:pt>
                <c:pt idx="572">
                  <c:v>42906</c:v>
                </c:pt>
                <c:pt idx="573">
                  <c:v>42905</c:v>
                </c:pt>
                <c:pt idx="574">
                  <c:v>42902</c:v>
                </c:pt>
                <c:pt idx="575">
                  <c:v>42901</c:v>
                </c:pt>
                <c:pt idx="576">
                  <c:v>42900</c:v>
                </c:pt>
                <c:pt idx="577">
                  <c:v>42899</c:v>
                </c:pt>
                <c:pt idx="578">
                  <c:v>42898</c:v>
                </c:pt>
                <c:pt idx="579">
                  <c:v>42895</c:v>
                </c:pt>
                <c:pt idx="580">
                  <c:v>42894</c:v>
                </c:pt>
                <c:pt idx="581">
                  <c:v>42893</c:v>
                </c:pt>
                <c:pt idx="582">
                  <c:v>42892</c:v>
                </c:pt>
                <c:pt idx="583">
                  <c:v>42888</c:v>
                </c:pt>
                <c:pt idx="584">
                  <c:v>42887</c:v>
                </c:pt>
                <c:pt idx="585">
                  <c:v>42886</c:v>
                </c:pt>
                <c:pt idx="586">
                  <c:v>42885</c:v>
                </c:pt>
                <c:pt idx="587">
                  <c:v>42884</c:v>
                </c:pt>
                <c:pt idx="588">
                  <c:v>42881</c:v>
                </c:pt>
                <c:pt idx="589">
                  <c:v>42879</c:v>
                </c:pt>
                <c:pt idx="590">
                  <c:v>42878</c:v>
                </c:pt>
                <c:pt idx="591">
                  <c:v>42877</c:v>
                </c:pt>
                <c:pt idx="592">
                  <c:v>42874</c:v>
                </c:pt>
                <c:pt idx="593">
                  <c:v>42873</c:v>
                </c:pt>
                <c:pt idx="594">
                  <c:v>42871</c:v>
                </c:pt>
                <c:pt idx="595">
                  <c:v>42870</c:v>
                </c:pt>
                <c:pt idx="596">
                  <c:v>42867</c:v>
                </c:pt>
                <c:pt idx="597">
                  <c:v>42866</c:v>
                </c:pt>
                <c:pt idx="598">
                  <c:v>42865</c:v>
                </c:pt>
                <c:pt idx="599">
                  <c:v>42864</c:v>
                </c:pt>
                <c:pt idx="600">
                  <c:v>42863</c:v>
                </c:pt>
                <c:pt idx="601">
                  <c:v>42860</c:v>
                </c:pt>
                <c:pt idx="602">
                  <c:v>42859</c:v>
                </c:pt>
                <c:pt idx="603">
                  <c:v>42858</c:v>
                </c:pt>
                <c:pt idx="604">
                  <c:v>42857</c:v>
                </c:pt>
                <c:pt idx="605">
                  <c:v>42853</c:v>
                </c:pt>
                <c:pt idx="606">
                  <c:v>42852</c:v>
                </c:pt>
                <c:pt idx="607">
                  <c:v>42851</c:v>
                </c:pt>
                <c:pt idx="608">
                  <c:v>42850</c:v>
                </c:pt>
                <c:pt idx="609">
                  <c:v>42849</c:v>
                </c:pt>
                <c:pt idx="610">
                  <c:v>42846</c:v>
                </c:pt>
                <c:pt idx="611">
                  <c:v>42845</c:v>
                </c:pt>
                <c:pt idx="612">
                  <c:v>42844</c:v>
                </c:pt>
                <c:pt idx="613">
                  <c:v>42843</c:v>
                </c:pt>
                <c:pt idx="614">
                  <c:v>42837</c:v>
                </c:pt>
                <c:pt idx="615">
                  <c:v>42836</c:v>
                </c:pt>
                <c:pt idx="616">
                  <c:v>42835</c:v>
                </c:pt>
                <c:pt idx="617">
                  <c:v>42832</c:v>
                </c:pt>
                <c:pt idx="618">
                  <c:v>42831</c:v>
                </c:pt>
                <c:pt idx="619">
                  <c:v>42830</c:v>
                </c:pt>
                <c:pt idx="620">
                  <c:v>42829</c:v>
                </c:pt>
                <c:pt idx="621">
                  <c:v>42828</c:v>
                </c:pt>
                <c:pt idx="622">
                  <c:v>42825</c:v>
                </c:pt>
                <c:pt idx="623">
                  <c:v>42824</c:v>
                </c:pt>
                <c:pt idx="624">
                  <c:v>42823</c:v>
                </c:pt>
                <c:pt idx="625">
                  <c:v>42822</c:v>
                </c:pt>
                <c:pt idx="626">
                  <c:v>42821</c:v>
                </c:pt>
                <c:pt idx="627">
                  <c:v>42818</c:v>
                </c:pt>
                <c:pt idx="628">
                  <c:v>42817</c:v>
                </c:pt>
                <c:pt idx="629">
                  <c:v>42816</c:v>
                </c:pt>
                <c:pt idx="630">
                  <c:v>42815</c:v>
                </c:pt>
                <c:pt idx="631">
                  <c:v>42814</c:v>
                </c:pt>
                <c:pt idx="632">
                  <c:v>42811</c:v>
                </c:pt>
                <c:pt idx="633">
                  <c:v>42810</c:v>
                </c:pt>
                <c:pt idx="634">
                  <c:v>42809</c:v>
                </c:pt>
                <c:pt idx="635">
                  <c:v>42808</c:v>
                </c:pt>
                <c:pt idx="636">
                  <c:v>42807</c:v>
                </c:pt>
                <c:pt idx="637">
                  <c:v>42804</c:v>
                </c:pt>
                <c:pt idx="638">
                  <c:v>42803</c:v>
                </c:pt>
                <c:pt idx="639">
                  <c:v>42802</c:v>
                </c:pt>
                <c:pt idx="640">
                  <c:v>42801</c:v>
                </c:pt>
                <c:pt idx="641">
                  <c:v>42800</c:v>
                </c:pt>
                <c:pt idx="642">
                  <c:v>42797</c:v>
                </c:pt>
                <c:pt idx="643">
                  <c:v>42796</c:v>
                </c:pt>
                <c:pt idx="644">
                  <c:v>42795</c:v>
                </c:pt>
                <c:pt idx="645">
                  <c:v>42794</c:v>
                </c:pt>
                <c:pt idx="646">
                  <c:v>42793</c:v>
                </c:pt>
                <c:pt idx="647">
                  <c:v>42790</c:v>
                </c:pt>
                <c:pt idx="648">
                  <c:v>42789</c:v>
                </c:pt>
                <c:pt idx="649">
                  <c:v>42788</c:v>
                </c:pt>
                <c:pt idx="650">
                  <c:v>42787</c:v>
                </c:pt>
                <c:pt idx="651">
                  <c:v>42786</c:v>
                </c:pt>
                <c:pt idx="652">
                  <c:v>42783</c:v>
                </c:pt>
                <c:pt idx="653">
                  <c:v>42782</c:v>
                </c:pt>
                <c:pt idx="654">
                  <c:v>42781</c:v>
                </c:pt>
                <c:pt idx="655">
                  <c:v>42780</c:v>
                </c:pt>
                <c:pt idx="656">
                  <c:v>42779</c:v>
                </c:pt>
                <c:pt idx="657">
                  <c:v>42776</c:v>
                </c:pt>
                <c:pt idx="658">
                  <c:v>42775</c:v>
                </c:pt>
                <c:pt idx="659">
                  <c:v>42774</c:v>
                </c:pt>
                <c:pt idx="660">
                  <c:v>42773</c:v>
                </c:pt>
                <c:pt idx="661">
                  <c:v>42772</c:v>
                </c:pt>
                <c:pt idx="662">
                  <c:v>42769</c:v>
                </c:pt>
                <c:pt idx="663">
                  <c:v>42768</c:v>
                </c:pt>
                <c:pt idx="664">
                  <c:v>42767</c:v>
                </c:pt>
                <c:pt idx="665">
                  <c:v>42766</c:v>
                </c:pt>
                <c:pt idx="666">
                  <c:v>42765</c:v>
                </c:pt>
                <c:pt idx="667">
                  <c:v>42762</c:v>
                </c:pt>
                <c:pt idx="668">
                  <c:v>42761</c:v>
                </c:pt>
                <c:pt idx="669">
                  <c:v>42760</c:v>
                </c:pt>
                <c:pt idx="670">
                  <c:v>42759</c:v>
                </c:pt>
                <c:pt idx="671">
                  <c:v>42758</c:v>
                </c:pt>
                <c:pt idx="672">
                  <c:v>42755</c:v>
                </c:pt>
                <c:pt idx="673">
                  <c:v>42754</c:v>
                </c:pt>
                <c:pt idx="674">
                  <c:v>42753</c:v>
                </c:pt>
                <c:pt idx="675">
                  <c:v>42752</c:v>
                </c:pt>
                <c:pt idx="676">
                  <c:v>42751</c:v>
                </c:pt>
                <c:pt idx="677">
                  <c:v>42748</c:v>
                </c:pt>
                <c:pt idx="678">
                  <c:v>42747</c:v>
                </c:pt>
                <c:pt idx="679">
                  <c:v>42746</c:v>
                </c:pt>
                <c:pt idx="680">
                  <c:v>42745</c:v>
                </c:pt>
                <c:pt idx="681">
                  <c:v>42744</c:v>
                </c:pt>
                <c:pt idx="682">
                  <c:v>42741</c:v>
                </c:pt>
                <c:pt idx="683">
                  <c:v>42740</c:v>
                </c:pt>
                <c:pt idx="684">
                  <c:v>42739</c:v>
                </c:pt>
                <c:pt idx="685">
                  <c:v>42738</c:v>
                </c:pt>
                <c:pt idx="686">
                  <c:v>42737</c:v>
                </c:pt>
                <c:pt idx="687">
                  <c:v>42734</c:v>
                </c:pt>
                <c:pt idx="688">
                  <c:v>42733</c:v>
                </c:pt>
                <c:pt idx="689">
                  <c:v>42732</c:v>
                </c:pt>
                <c:pt idx="690">
                  <c:v>42731</c:v>
                </c:pt>
                <c:pt idx="691">
                  <c:v>42727</c:v>
                </c:pt>
                <c:pt idx="692">
                  <c:v>42726</c:v>
                </c:pt>
                <c:pt idx="693">
                  <c:v>42725</c:v>
                </c:pt>
                <c:pt idx="694">
                  <c:v>42724</c:v>
                </c:pt>
                <c:pt idx="695">
                  <c:v>42723</c:v>
                </c:pt>
                <c:pt idx="696">
                  <c:v>42720</c:v>
                </c:pt>
                <c:pt idx="697">
                  <c:v>42719</c:v>
                </c:pt>
                <c:pt idx="698">
                  <c:v>42718</c:v>
                </c:pt>
                <c:pt idx="699">
                  <c:v>42717</c:v>
                </c:pt>
                <c:pt idx="700">
                  <c:v>42716</c:v>
                </c:pt>
                <c:pt idx="701">
                  <c:v>42713</c:v>
                </c:pt>
                <c:pt idx="702">
                  <c:v>42712</c:v>
                </c:pt>
                <c:pt idx="703">
                  <c:v>42711</c:v>
                </c:pt>
                <c:pt idx="704">
                  <c:v>42710</c:v>
                </c:pt>
                <c:pt idx="705">
                  <c:v>42709</c:v>
                </c:pt>
                <c:pt idx="706">
                  <c:v>42706</c:v>
                </c:pt>
                <c:pt idx="707">
                  <c:v>42705</c:v>
                </c:pt>
                <c:pt idx="708">
                  <c:v>42704</c:v>
                </c:pt>
                <c:pt idx="709">
                  <c:v>42703</c:v>
                </c:pt>
                <c:pt idx="710">
                  <c:v>42702</c:v>
                </c:pt>
                <c:pt idx="711">
                  <c:v>42699</c:v>
                </c:pt>
                <c:pt idx="712">
                  <c:v>42698</c:v>
                </c:pt>
                <c:pt idx="713">
                  <c:v>42697</c:v>
                </c:pt>
                <c:pt idx="714">
                  <c:v>42696</c:v>
                </c:pt>
                <c:pt idx="715">
                  <c:v>42695</c:v>
                </c:pt>
                <c:pt idx="716">
                  <c:v>42692</c:v>
                </c:pt>
                <c:pt idx="717">
                  <c:v>42691</c:v>
                </c:pt>
                <c:pt idx="718">
                  <c:v>42690</c:v>
                </c:pt>
                <c:pt idx="719">
                  <c:v>42689</c:v>
                </c:pt>
                <c:pt idx="720">
                  <c:v>42688</c:v>
                </c:pt>
                <c:pt idx="721">
                  <c:v>42685</c:v>
                </c:pt>
                <c:pt idx="722">
                  <c:v>42684</c:v>
                </c:pt>
                <c:pt idx="723">
                  <c:v>42683</c:v>
                </c:pt>
                <c:pt idx="724">
                  <c:v>42682</c:v>
                </c:pt>
                <c:pt idx="725">
                  <c:v>42681</c:v>
                </c:pt>
                <c:pt idx="726">
                  <c:v>42678</c:v>
                </c:pt>
                <c:pt idx="727">
                  <c:v>42677</c:v>
                </c:pt>
                <c:pt idx="728">
                  <c:v>42676</c:v>
                </c:pt>
                <c:pt idx="729">
                  <c:v>42675</c:v>
                </c:pt>
                <c:pt idx="730">
                  <c:v>42674</c:v>
                </c:pt>
                <c:pt idx="731">
                  <c:v>42671</c:v>
                </c:pt>
                <c:pt idx="732">
                  <c:v>42670</c:v>
                </c:pt>
                <c:pt idx="733">
                  <c:v>42669</c:v>
                </c:pt>
                <c:pt idx="734">
                  <c:v>42668</c:v>
                </c:pt>
                <c:pt idx="735">
                  <c:v>42667</c:v>
                </c:pt>
                <c:pt idx="736">
                  <c:v>42664</c:v>
                </c:pt>
                <c:pt idx="737">
                  <c:v>42663</c:v>
                </c:pt>
                <c:pt idx="738">
                  <c:v>42662</c:v>
                </c:pt>
                <c:pt idx="739">
                  <c:v>42661</c:v>
                </c:pt>
                <c:pt idx="740">
                  <c:v>42660</c:v>
                </c:pt>
                <c:pt idx="741">
                  <c:v>42657</c:v>
                </c:pt>
                <c:pt idx="742">
                  <c:v>42656</c:v>
                </c:pt>
                <c:pt idx="743">
                  <c:v>42655</c:v>
                </c:pt>
                <c:pt idx="744">
                  <c:v>42654</c:v>
                </c:pt>
                <c:pt idx="745">
                  <c:v>42653</c:v>
                </c:pt>
                <c:pt idx="746">
                  <c:v>42650</c:v>
                </c:pt>
                <c:pt idx="747">
                  <c:v>42649</c:v>
                </c:pt>
                <c:pt idx="748">
                  <c:v>42648</c:v>
                </c:pt>
                <c:pt idx="749">
                  <c:v>42647</c:v>
                </c:pt>
                <c:pt idx="750">
                  <c:v>42646</c:v>
                </c:pt>
                <c:pt idx="751">
                  <c:v>42643</c:v>
                </c:pt>
              </c:numCache>
            </c:numRef>
          </c:cat>
          <c:val>
            <c:numRef>
              <c:f>'Ark1'!$C$2:$C$753</c:f>
              <c:numCache>
                <c:formatCode>_ * #,##0.0_ ;_ * \-#,##0.0_ ;_ * "-"??_ ;_ @_ </c:formatCode>
                <c:ptCount val="752"/>
                <c:pt idx="0">
                  <c:v>39.203385744515579</c:v>
                </c:pt>
                <c:pt idx="1">
                  <c:v>38.929140438753919</c:v>
                </c:pt>
                <c:pt idx="2">
                  <c:v>39.040612862614843</c:v>
                </c:pt>
                <c:pt idx="3">
                  <c:v>38.858168376503365</c:v>
                </c:pt>
                <c:pt idx="4">
                  <c:v>39.037141403048246</c:v>
                </c:pt>
                <c:pt idx="5">
                  <c:v>39.370401521442155</c:v>
                </c:pt>
                <c:pt idx="6">
                  <c:v>39.493252618326949</c:v>
                </c:pt>
                <c:pt idx="7">
                  <c:v>39.170599737497653</c:v>
                </c:pt>
                <c:pt idx="8">
                  <c:v>39.174842632523507</c:v>
                </c:pt>
                <c:pt idx="9">
                  <c:v>39.16539254814775</c:v>
                </c:pt>
                <c:pt idx="10">
                  <c:v>39.410323306458096</c:v>
                </c:pt>
                <c:pt idx="11">
                  <c:v>39.398366056839798</c:v>
                </c:pt>
                <c:pt idx="12">
                  <c:v>38.886711488495436</c:v>
                </c:pt>
                <c:pt idx="13">
                  <c:v>38.941869123831466</c:v>
                </c:pt>
                <c:pt idx="14">
                  <c:v>38.702916990330273</c:v>
                </c:pt>
                <c:pt idx="15">
                  <c:v>38.50562237162832</c:v>
                </c:pt>
                <c:pt idx="16">
                  <c:v>38.43291457959446</c:v>
                </c:pt>
                <c:pt idx="17">
                  <c:v>38.725095759783571</c:v>
                </c:pt>
                <c:pt idx="18">
                  <c:v>38.290006160769295</c:v>
                </c:pt>
                <c:pt idx="19">
                  <c:v>38.375056920151074</c:v>
                </c:pt>
                <c:pt idx="20">
                  <c:v>38.713909945624515</c:v>
                </c:pt>
                <c:pt idx="21">
                  <c:v>38.643130742238775</c:v>
                </c:pt>
                <c:pt idx="22">
                  <c:v>38.662416628719903</c:v>
                </c:pt>
                <c:pt idx="23">
                  <c:v>38.24082715024241</c:v>
                </c:pt>
                <c:pt idx="24">
                  <c:v>38.364256823721639</c:v>
                </c:pt>
                <c:pt idx="25">
                  <c:v>38.25220582326628</c:v>
                </c:pt>
                <c:pt idx="26">
                  <c:v>38.509865266654167</c:v>
                </c:pt>
                <c:pt idx="27">
                  <c:v>38.612466182733776</c:v>
                </c:pt>
                <c:pt idx="28">
                  <c:v>38.725481477513192</c:v>
                </c:pt>
                <c:pt idx="29">
                  <c:v>38.793946374521205</c:v>
                </c:pt>
                <c:pt idx="30">
                  <c:v>39.029427048455794</c:v>
                </c:pt>
                <c:pt idx="31">
                  <c:v>38.438314627809177</c:v>
                </c:pt>
                <c:pt idx="32">
                  <c:v>38.199941070902426</c:v>
                </c:pt>
                <c:pt idx="33">
                  <c:v>38.509865266654167</c:v>
                </c:pt>
                <c:pt idx="34">
                  <c:v>39.079570353306728</c:v>
                </c:pt>
                <c:pt idx="35">
                  <c:v>39.170021160903225</c:v>
                </c:pt>
                <c:pt idx="36">
                  <c:v>39.316401039294995</c:v>
                </c:pt>
                <c:pt idx="37">
                  <c:v>39.055462995205318</c:v>
                </c:pt>
                <c:pt idx="38">
                  <c:v>38.161947874534597</c:v>
                </c:pt>
                <c:pt idx="39">
                  <c:v>38.238898561594304</c:v>
                </c:pt>
                <c:pt idx="40">
                  <c:v>38.095797283904318</c:v>
                </c:pt>
                <c:pt idx="41">
                  <c:v>38.497136581576626</c:v>
                </c:pt>
                <c:pt idx="42">
                  <c:v>38.742453057616586</c:v>
                </c:pt>
                <c:pt idx="43">
                  <c:v>38.78314627809177</c:v>
                </c:pt>
                <c:pt idx="44">
                  <c:v>38.776974794417811</c:v>
                </c:pt>
                <c:pt idx="45">
                  <c:v>39.033862802346455</c:v>
                </c:pt>
                <c:pt idx="46">
                  <c:v>38.964240752149571</c:v>
                </c:pt>
                <c:pt idx="47">
                  <c:v>38.93685479334637</c:v>
                </c:pt>
                <c:pt idx="48">
                  <c:v>39.177156938901248</c:v>
                </c:pt>
                <c:pt idx="49">
                  <c:v>39.314665309511696</c:v>
                </c:pt>
                <c:pt idx="50">
                  <c:v>38.924897543728072</c:v>
                </c:pt>
                <c:pt idx="51">
                  <c:v>39.12161358583559</c:v>
                </c:pt>
                <c:pt idx="52">
                  <c:v>39.230385985589159</c:v>
                </c:pt>
                <c:pt idx="53">
                  <c:v>39.057584442718237</c:v>
                </c:pt>
                <c:pt idx="54">
                  <c:v>39.284579326601133</c:v>
                </c:pt>
                <c:pt idx="55">
                  <c:v>39.328744006642921</c:v>
                </c:pt>
                <c:pt idx="56">
                  <c:v>39.614753703158065</c:v>
                </c:pt>
                <c:pt idx="57">
                  <c:v>39.316786757024616</c:v>
                </c:pt>
                <c:pt idx="58">
                  <c:v>39.204928615434071</c:v>
                </c:pt>
                <c:pt idx="59">
                  <c:v>39.320451075456027</c:v>
                </c:pt>
                <c:pt idx="60">
                  <c:v>39.397208903650927</c:v>
                </c:pt>
                <c:pt idx="61">
                  <c:v>39.42613773337262</c:v>
                </c:pt>
                <c:pt idx="62">
                  <c:v>39.528160072857801</c:v>
                </c:pt>
                <c:pt idx="63">
                  <c:v>39.408009000080355</c:v>
                </c:pt>
                <c:pt idx="64">
                  <c:v>39.456802292877619</c:v>
                </c:pt>
                <c:pt idx="65">
                  <c:v>39.506945597728553</c:v>
                </c:pt>
                <c:pt idx="66">
                  <c:v>39.174649773658693</c:v>
                </c:pt>
                <c:pt idx="67">
                  <c:v>39.076291752604938</c:v>
                </c:pt>
                <c:pt idx="68">
                  <c:v>38.824610934026197</c:v>
                </c:pt>
                <c:pt idx="69">
                  <c:v>38.538986955240674</c:v>
                </c:pt>
                <c:pt idx="70">
                  <c:v>38.739560174644424</c:v>
                </c:pt>
                <c:pt idx="71">
                  <c:v>38.517772480111432</c:v>
                </c:pt>
                <c:pt idx="72">
                  <c:v>38.49732944044144</c:v>
                </c:pt>
                <c:pt idx="73">
                  <c:v>38.752288859721965</c:v>
                </c:pt>
                <c:pt idx="74">
                  <c:v>38.540144108429544</c:v>
                </c:pt>
                <c:pt idx="75">
                  <c:v>38.357699622318059</c:v>
                </c:pt>
                <c:pt idx="76">
                  <c:v>38.240634291377603</c:v>
                </c:pt>
                <c:pt idx="77">
                  <c:v>38.465893445477192</c:v>
                </c:pt>
                <c:pt idx="78">
                  <c:v>38.316234966383632</c:v>
                </c:pt>
                <c:pt idx="79">
                  <c:v>38.607837569978301</c:v>
                </c:pt>
                <c:pt idx="80">
                  <c:v>38.57215867998822</c:v>
                </c:pt>
                <c:pt idx="81">
                  <c:v>38.477850695095498</c:v>
                </c:pt>
                <c:pt idx="82">
                  <c:v>38.404950044196823</c:v>
                </c:pt>
                <c:pt idx="83">
                  <c:v>38.319127849355802</c:v>
                </c:pt>
                <c:pt idx="84">
                  <c:v>38.499836605683981</c:v>
                </c:pt>
                <c:pt idx="85">
                  <c:v>38.394921383226638</c:v>
                </c:pt>
                <c:pt idx="86">
                  <c:v>38.528958294270488</c:v>
                </c:pt>
                <c:pt idx="87">
                  <c:v>38.639466423807356</c:v>
                </c:pt>
                <c:pt idx="88">
                  <c:v>38.688838293199048</c:v>
                </c:pt>
                <c:pt idx="89">
                  <c:v>38.965012187608821</c:v>
                </c:pt>
                <c:pt idx="90">
                  <c:v>38.670516701041976</c:v>
                </c:pt>
                <c:pt idx="91">
                  <c:v>38.966940776256934</c:v>
                </c:pt>
                <c:pt idx="92">
                  <c:v>38.991048134358344</c:v>
                </c:pt>
                <c:pt idx="93">
                  <c:v>38.735510138483384</c:v>
                </c:pt>
                <c:pt idx="94">
                  <c:v>38.897511584924871</c:v>
                </c:pt>
                <c:pt idx="95">
                  <c:v>38.607066134519059</c:v>
                </c:pt>
                <c:pt idx="96">
                  <c:v>38.159633568156863</c:v>
                </c:pt>
                <c:pt idx="97">
                  <c:v>38.126847561138945</c:v>
                </c:pt>
                <c:pt idx="98">
                  <c:v>38.459529102938426</c:v>
                </c:pt>
                <c:pt idx="99">
                  <c:v>38.119711783140922</c:v>
                </c:pt>
                <c:pt idx="100">
                  <c:v>38.124147537031583</c:v>
                </c:pt>
                <c:pt idx="101">
                  <c:v>38.303313422441271</c:v>
                </c:pt>
                <c:pt idx="102">
                  <c:v>38.191455280850725</c:v>
                </c:pt>
                <c:pt idx="103">
                  <c:v>38.537251225457375</c:v>
                </c:pt>
                <c:pt idx="104">
                  <c:v>38.209969731872604</c:v>
                </c:pt>
                <c:pt idx="105">
                  <c:v>38.182969490799024</c:v>
                </c:pt>
                <c:pt idx="106">
                  <c:v>38.236198537486942</c:v>
                </c:pt>
                <c:pt idx="107">
                  <c:v>37.979889106152733</c:v>
                </c:pt>
                <c:pt idx="108">
                  <c:v>37.983360565719337</c:v>
                </c:pt>
                <c:pt idx="109">
                  <c:v>37.853180831971713</c:v>
                </c:pt>
                <c:pt idx="110">
                  <c:v>37.761187153456731</c:v>
                </c:pt>
                <c:pt idx="111">
                  <c:v>37.919524281466806</c:v>
                </c:pt>
                <c:pt idx="112">
                  <c:v>38.014217984089143</c:v>
                </c:pt>
                <c:pt idx="113">
                  <c:v>37.859545174510487</c:v>
                </c:pt>
                <c:pt idx="114">
                  <c:v>37.75887284707899</c:v>
                </c:pt>
                <c:pt idx="115">
                  <c:v>37.394562451450462</c:v>
                </c:pt>
                <c:pt idx="116">
                  <c:v>37.368912222430566</c:v>
                </c:pt>
                <c:pt idx="117">
                  <c:v>37.325711836712834</c:v>
                </c:pt>
                <c:pt idx="118">
                  <c:v>37.474598880347145</c:v>
                </c:pt>
                <c:pt idx="119">
                  <c:v>37.275954249591514</c:v>
                </c:pt>
                <c:pt idx="120">
                  <c:v>37.412691184742727</c:v>
                </c:pt>
                <c:pt idx="121">
                  <c:v>37.379712318859994</c:v>
                </c:pt>
                <c:pt idx="122">
                  <c:v>37.058216591219569</c:v>
                </c:pt>
                <c:pt idx="123">
                  <c:v>36.828907400958947</c:v>
                </c:pt>
                <c:pt idx="124">
                  <c:v>36.63141992339218</c:v>
                </c:pt>
                <c:pt idx="125">
                  <c:v>36.783006991133853</c:v>
                </c:pt>
                <c:pt idx="126">
                  <c:v>36.677320333217267</c:v>
                </c:pt>
                <c:pt idx="127">
                  <c:v>36.615605496477649</c:v>
                </c:pt>
                <c:pt idx="128">
                  <c:v>36.552154929954732</c:v>
                </c:pt>
                <c:pt idx="129">
                  <c:v>36.614641202153592</c:v>
                </c:pt>
                <c:pt idx="130">
                  <c:v>36.912415289422228</c:v>
                </c:pt>
                <c:pt idx="131">
                  <c:v>37.007880427503821</c:v>
                </c:pt>
                <c:pt idx="132">
                  <c:v>36.871143492352608</c:v>
                </c:pt>
                <c:pt idx="133">
                  <c:v>36.718206412557258</c:v>
                </c:pt>
                <c:pt idx="134">
                  <c:v>36.61599121420727</c:v>
                </c:pt>
                <c:pt idx="135">
                  <c:v>36.340588755256746</c:v>
                </c:pt>
                <c:pt idx="136">
                  <c:v>36.319759997857126</c:v>
                </c:pt>
                <c:pt idx="137">
                  <c:v>36.077336404789328</c:v>
                </c:pt>
                <c:pt idx="138">
                  <c:v>36.062679131063675</c:v>
                </c:pt>
                <c:pt idx="139">
                  <c:v>35.994021375190847</c:v>
                </c:pt>
                <c:pt idx="140">
                  <c:v>36.042236091393676</c:v>
                </c:pt>
                <c:pt idx="141">
                  <c:v>36.175887284707905</c:v>
                </c:pt>
                <c:pt idx="142">
                  <c:v>36.184565933624413</c:v>
                </c:pt>
                <c:pt idx="143">
                  <c:v>36.29584549862053</c:v>
                </c:pt>
                <c:pt idx="144">
                  <c:v>36.501240189644555</c:v>
                </c:pt>
                <c:pt idx="145">
                  <c:v>36.641255725497551</c:v>
                </c:pt>
                <c:pt idx="146">
                  <c:v>36.577805158974634</c:v>
                </c:pt>
                <c:pt idx="147">
                  <c:v>36.567969356869256</c:v>
                </c:pt>
                <c:pt idx="148">
                  <c:v>36.401532156537115</c:v>
                </c:pt>
                <c:pt idx="149">
                  <c:v>36.430268127394001</c:v>
                </c:pt>
                <c:pt idx="150">
                  <c:v>36.089100795542819</c:v>
                </c:pt>
                <c:pt idx="151">
                  <c:v>36.002892882972169</c:v>
                </c:pt>
                <c:pt idx="152">
                  <c:v>35.940985187367744</c:v>
                </c:pt>
                <c:pt idx="153">
                  <c:v>35.940792328502937</c:v>
                </c:pt>
                <c:pt idx="154">
                  <c:v>35.60097500870544</c:v>
                </c:pt>
                <c:pt idx="155">
                  <c:v>35.383815926927923</c:v>
                </c:pt>
                <c:pt idx="156">
                  <c:v>35.611967963999682</c:v>
                </c:pt>
                <c:pt idx="157">
                  <c:v>35.678889990089203</c:v>
                </c:pt>
                <c:pt idx="158">
                  <c:v>35.451895106206308</c:v>
                </c:pt>
                <c:pt idx="159">
                  <c:v>35.416409075081035</c:v>
                </c:pt>
                <c:pt idx="160">
                  <c:v>35.487573996196396</c:v>
                </c:pt>
                <c:pt idx="161">
                  <c:v>35.45883802533951</c:v>
                </c:pt>
                <c:pt idx="162">
                  <c:v>35.184014142983422</c:v>
                </c:pt>
                <c:pt idx="163">
                  <c:v>34.966855061205905</c:v>
                </c:pt>
                <c:pt idx="164">
                  <c:v>35.187485602550019</c:v>
                </c:pt>
                <c:pt idx="165">
                  <c:v>34.863482709667053</c:v>
                </c:pt>
                <c:pt idx="166">
                  <c:v>34.884890043661102</c:v>
                </c:pt>
                <c:pt idx="167">
                  <c:v>34.783060563040742</c:v>
                </c:pt>
                <c:pt idx="168">
                  <c:v>34.668888115072455</c:v>
                </c:pt>
                <c:pt idx="169">
                  <c:v>34.811217957303192</c:v>
                </c:pt>
                <c:pt idx="170">
                  <c:v>34.765317547478105</c:v>
                </c:pt>
                <c:pt idx="171">
                  <c:v>34.702638416414437</c:v>
                </c:pt>
                <c:pt idx="172">
                  <c:v>34.911311708140254</c:v>
                </c:pt>
                <c:pt idx="173">
                  <c:v>35.081798944633434</c:v>
                </c:pt>
                <c:pt idx="174">
                  <c:v>34.939661961267518</c:v>
                </c:pt>
                <c:pt idx="175">
                  <c:v>34.809096509790265</c:v>
                </c:pt>
                <c:pt idx="176">
                  <c:v>34.938890525808269</c:v>
                </c:pt>
                <c:pt idx="177">
                  <c:v>34.78884632898508</c:v>
                </c:pt>
                <c:pt idx="178">
                  <c:v>34.525401119652855</c:v>
                </c:pt>
                <c:pt idx="179">
                  <c:v>34.660595183885576</c:v>
                </c:pt>
                <c:pt idx="180">
                  <c:v>34.428971687247213</c:v>
                </c:pt>
                <c:pt idx="181">
                  <c:v>34.547387030241346</c:v>
                </c:pt>
                <c:pt idx="182">
                  <c:v>34.587501674122095</c:v>
                </c:pt>
                <c:pt idx="183">
                  <c:v>34.63263064848794</c:v>
                </c:pt>
                <c:pt idx="184">
                  <c:v>34.639959285350763</c:v>
                </c:pt>
                <c:pt idx="185">
                  <c:v>34.452500468754188</c:v>
                </c:pt>
                <c:pt idx="186">
                  <c:v>33.881445370047949</c:v>
                </c:pt>
                <c:pt idx="187">
                  <c:v>33.869295261564837</c:v>
                </c:pt>
                <c:pt idx="188">
                  <c:v>33.436519968928295</c:v>
                </c:pt>
                <c:pt idx="189">
                  <c:v>33.123510031339571</c:v>
                </c:pt>
                <c:pt idx="190">
                  <c:v>33.113481370369378</c:v>
                </c:pt>
                <c:pt idx="191">
                  <c:v>33.603150028125249</c:v>
                </c:pt>
                <c:pt idx="192">
                  <c:v>33.530249377226582</c:v>
                </c:pt>
                <c:pt idx="193">
                  <c:v>33.899959821069835</c:v>
                </c:pt>
                <c:pt idx="194">
                  <c:v>34.326370771167596</c:v>
                </c:pt>
                <c:pt idx="195">
                  <c:v>34.580173037259264</c:v>
                </c:pt>
                <c:pt idx="196">
                  <c:v>34.341220903758078</c:v>
                </c:pt>
                <c:pt idx="197">
                  <c:v>34.136211930463666</c:v>
                </c:pt>
                <c:pt idx="198">
                  <c:v>34.012010821525195</c:v>
                </c:pt>
                <c:pt idx="199">
                  <c:v>34.525593978517669</c:v>
                </c:pt>
                <c:pt idx="200">
                  <c:v>33.94316020678756</c:v>
                </c:pt>
                <c:pt idx="201">
                  <c:v>34.652495111563496</c:v>
                </c:pt>
                <c:pt idx="202">
                  <c:v>34.889904374146198</c:v>
                </c:pt>
                <c:pt idx="203">
                  <c:v>34.723274314949244</c:v>
                </c:pt>
                <c:pt idx="204">
                  <c:v>34.276420325181476</c:v>
                </c:pt>
                <c:pt idx="205">
                  <c:v>34.447100420539471</c:v>
                </c:pt>
                <c:pt idx="206">
                  <c:v>34.207183992714228</c:v>
                </c:pt>
                <c:pt idx="207">
                  <c:v>34.271405994696387</c:v>
                </c:pt>
                <c:pt idx="208">
                  <c:v>34.145276297109795</c:v>
                </c:pt>
                <c:pt idx="209">
                  <c:v>33.813366190769564</c:v>
                </c:pt>
                <c:pt idx="210">
                  <c:v>33.997160688934727</c:v>
                </c:pt>
                <c:pt idx="211">
                  <c:v>34.074882811453669</c:v>
                </c:pt>
                <c:pt idx="212">
                  <c:v>33.778458736238719</c:v>
                </c:pt>
                <c:pt idx="213">
                  <c:v>34.376128358288916</c:v>
                </c:pt>
                <c:pt idx="214">
                  <c:v>34.525786837382483</c:v>
                </c:pt>
                <c:pt idx="215">
                  <c:v>34.329649371869394</c:v>
                </c:pt>
                <c:pt idx="216">
                  <c:v>34.748731685104332</c:v>
                </c:pt>
                <c:pt idx="217">
                  <c:v>34.828768114001022</c:v>
                </c:pt>
                <c:pt idx="218">
                  <c:v>34.758953204939331</c:v>
                </c:pt>
                <c:pt idx="219">
                  <c:v>35.009476870329195</c:v>
                </c:pt>
                <c:pt idx="220">
                  <c:v>35.215642996812477</c:v>
                </c:pt>
                <c:pt idx="221">
                  <c:v>35.230493129402944</c:v>
                </c:pt>
                <c:pt idx="222">
                  <c:v>34.893761551442424</c:v>
                </c:pt>
                <c:pt idx="223">
                  <c:v>34.975919427852034</c:v>
                </c:pt>
                <c:pt idx="224">
                  <c:v>35.180156965687196</c:v>
                </c:pt>
                <c:pt idx="225">
                  <c:v>34.976305145581655</c:v>
                </c:pt>
                <c:pt idx="226">
                  <c:v>34.780360538933387</c:v>
                </c:pt>
                <c:pt idx="227">
                  <c:v>34.46966490772239</c:v>
                </c:pt>
                <c:pt idx="228">
                  <c:v>34.690295449066511</c:v>
                </c:pt>
                <c:pt idx="229">
                  <c:v>34.177098009803665</c:v>
                </c:pt>
                <c:pt idx="230">
                  <c:v>34.209305440227148</c:v>
                </c:pt>
                <c:pt idx="231">
                  <c:v>34.468893472263147</c:v>
                </c:pt>
                <c:pt idx="232">
                  <c:v>34.057911231350282</c:v>
                </c:pt>
                <c:pt idx="233">
                  <c:v>34.732145822730565</c:v>
                </c:pt>
                <c:pt idx="234">
                  <c:v>35.309758122840385</c:v>
                </c:pt>
                <c:pt idx="235">
                  <c:v>35.044191465995233</c:v>
                </c:pt>
                <c:pt idx="236">
                  <c:v>34.825682372164039</c:v>
                </c:pt>
                <c:pt idx="237">
                  <c:v>34.647095063348779</c:v>
                </c:pt>
                <c:pt idx="238">
                  <c:v>34.397728551147779</c:v>
                </c:pt>
                <c:pt idx="239">
                  <c:v>34.487407923285033</c:v>
                </c:pt>
                <c:pt idx="240">
                  <c:v>34.713631371708679</c:v>
                </c:pt>
                <c:pt idx="241">
                  <c:v>35.581110545629876</c:v>
                </c:pt>
                <c:pt idx="242">
                  <c:v>35.76413360833579</c:v>
                </c:pt>
                <c:pt idx="243">
                  <c:v>35.851691532960118</c:v>
                </c:pt>
                <c:pt idx="244">
                  <c:v>36.06537915517103</c:v>
                </c:pt>
                <c:pt idx="245">
                  <c:v>35.962392521361799</c:v>
                </c:pt>
                <c:pt idx="246">
                  <c:v>36.040114643880749</c:v>
                </c:pt>
                <c:pt idx="247">
                  <c:v>36.152551362065729</c:v>
                </c:pt>
                <c:pt idx="248">
                  <c:v>36.011185814159056</c:v>
                </c:pt>
                <c:pt idx="249">
                  <c:v>35.992285645407556</c:v>
                </c:pt>
                <c:pt idx="250">
                  <c:v>36.092765113974231</c:v>
                </c:pt>
                <c:pt idx="251">
                  <c:v>36.205780408753647</c:v>
                </c:pt>
                <c:pt idx="252">
                  <c:v>36.138472664934511</c:v>
                </c:pt>
                <c:pt idx="253">
                  <c:v>35.894699059813036</c:v>
                </c:pt>
                <c:pt idx="254">
                  <c:v>35.862877347119174</c:v>
                </c:pt>
                <c:pt idx="255">
                  <c:v>35.749862052339758</c:v>
                </c:pt>
                <c:pt idx="256">
                  <c:v>35.74735488709721</c:v>
                </c:pt>
                <c:pt idx="257">
                  <c:v>35.788433825302015</c:v>
                </c:pt>
                <c:pt idx="258">
                  <c:v>35.942335199421429</c:v>
                </c:pt>
                <c:pt idx="259">
                  <c:v>35.649382583773075</c:v>
                </c:pt>
                <c:pt idx="260">
                  <c:v>35.741569121152871</c:v>
                </c:pt>
                <c:pt idx="261">
                  <c:v>35.704733077973913</c:v>
                </c:pt>
                <c:pt idx="262">
                  <c:v>35.66230412771543</c:v>
                </c:pt>
                <c:pt idx="263">
                  <c:v>35.681397155331751</c:v>
                </c:pt>
                <c:pt idx="264">
                  <c:v>35.621418048375432</c:v>
                </c:pt>
                <c:pt idx="265">
                  <c:v>35.758347842391451</c:v>
                </c:pt>
                <c:pt idx="266">
                  <c:v>35.458645166474703</c:v>
                </c:pt>
                <c:pt idx="267">
                  <c:v>35.318822489486514</c:v>
                </c:pt>
                <c:pt idx="268">
                  <c:v>35.500881257868379</c:v>
                </c:pt>
                <c:pt idx="269">
                  <c:v>35.271957785337371</c:v>
                </c:pt>
                <c:pt idx="270">
                  <c:v>35.242450379021243</c:v>
                </c:pt>
                <c:pt idx="271">
                  <c:v>35.245921838587847</c:v>
                </c:pt>
                <c:pt idx="272">
                  <c:v>35.318051054027272</c:v>
                </c:pt>
                <c:pt idx="273">
                  <c:v>35.223550210269735</c:v>
                </c:pt>
                <c:pt idx="274">
                  <c:v>35.381694479414996</c:v>
                </c:pt>
                <c:pt idx="275">
                  <c:v>35.272536361931806</c:v>
                </c:pt>
                <c:pt idx="276">
                  <c:v>35.216221573406905</c:v>
                </c:pt>
                <c:pt idx="277">
                  <c:v>35.09414191198136</c:v>
                </c:pt>
                <c:pt idx="278">
                  <c:v>35.009862588058823</c:v>
                </c:pt>
                <c:pt idx="279">
                  <c:v>34.70668845257547</c:v>
                </c:pt>
                <c:pt idx="280">
                  <c:v>34.523665389869556</c:v>
                </c:pt>
                <c:pt idx="281">
                  <c:v>34.522893954410307</c:v>
                </c:pt>
                <c:pt idx="282">
                  <c:v>34.406985776658722</c:v>
                </c:pt>
                <c:pt idx="283">
                  <c:v>34.418364449682592</c:v>
                </c:pt>
                <c:pt idx="284">
                  <c:v>34.525786837382483</c:v>
                </c:pt>
                <c:pt idx="285">
                  <c:v>34.794053518334984</c:v>
                </c:pt>
                <c:pt idx="286">
                  <c:v>34.121940374467627</c:v>
                </c:pt>
                <c:pt idx="287">
                  <c:v>33.912688506147376</c:v>
                </c:pt>
                <c:pt idx="288">
                  <c:v>33.753194224948444</c:v>
                </c:pt>
                <c:pt idx="289">
                  <c:v>33.497270511343856</c:v>
                </c:pt>
                <c:pt idx="290">
                  <c:v>33.456577290868672</c:v>
                </c:pt>
                <c:pt idx="291">
                  <c:v>33.495727640425365</c:v>
                </c:pt>
                <c:pt idx="292">
                  <c:v>33.59601425012724</c:v>
                </c:pt>
                <c:pt idx="293">
                  <c:v>33.693600835721753</c:v>
                </c:pt>
                <c:pt idx="294">
                  <c:v>33.676050679023923</c:v>
                </c:pt>
                <c:pt idx="295">
                  <c:v>33.562649666514879</c:v>
                </c:pt>
                <c:pt idx="296">
                  <c:v>33.766501486620413</c:v>
                </c:pt>
                <c:pt idx="297">
                  <c:v>33.83728069000616</c:v>
                </c:pt>
                <c:pt idx="298">
                  <c:v>33.506527736854792</c:v>
                </c:pt>
                <c:pt idx="299">
                  <c:v>33.70729381512335</c:v>
                </c:pt>
                <c:pt idx="300">
                  <c:v>33.698615166206842</c:v>
                </c:pt>
                <c:pt idx="301">
                  <c:v>33.732365467548817</c:v>
                </c:pt>
                <c:pt idx="302">
                  <c:v>33.663129135081569</c:v>
                </c:pt>
                <c:pt idx="303">
                  <c:v>33.862352342431628</c:v>
                </c:pt>
                <c:pt idx="304">
                  <c:v>33.839209278654273</c:v>
                </c:pt>
                <c:pt idx="305">
                  <c:v>33.817801944660225</c:v>
                </c:pt>
                <c:pt idx="306">
                  <c:v>34.004103608067929</c:v>
                </c:pt>
                <c:pt idx="307">
                  <c:v>34.293970481879306</c:v>
                </c:pt>
                <c:pt idx="308">
                  <c:v>34.239777140867332</c:v>
                </c:pt>
                <c:pt idx="309">
                  <c:v>34.060996973187258</c:v>
                </c:pt>
                <c:pt idx="310">
                  <c:v>33.765922910025985</c:v>
                </c:pt>
                <c:pt idx="311">
                  <c:v>33.861195189242764</c:v>
                </c:pt>
                <c:pt idx="312">
                  <c:v>33.51809926874347</c:v>
                </c:pt>
                <c:pt idx="313">
                  <c:v>33.380398039268208</c:v>
                </c:pt>
                <c:pt idx="314">
                  <c:v>33.413762622880562</c:v>
                </c:pt>
                <c:pt idx="315">
                  <c:v>33.240382503415212</c:v>
                </c:pt>
                <c:pt idx="316">
                  <c:v>33.272011357244267</c:v>
                </c:pt>
                <c:pt idx="317">
                  <c:v>33.107888463289854</c:v>
                </c:pt>
                <c:pt idx="318">
                  <c:v>33.014351913856373</c:v>
                </c:pt>
                <c:pt idx="319">
                  <c:v>33.297083009669727</c:v>
                </c:pt>
                <c:pt idx="320">
                  <c:v>33.103259850534378</c:v>
                </c:pt>
                <c:pt idx="321">
                  <c:v>32.65602014303699</c:v>
                </c:pt>
                <c:pt idx="322">
                  <c:v>32.519668925615413</c:v>
                </c:pt>
                <c:pt idx="323">
                  <c:v>32.601248225430588</c:v>
                </c:pt>
                <c:pt idx="324">
                  <c:v>32.491897249082584</c:v>
                </c:pt>
                <c:pt idx="325">
                  <c:v>32.994487450780809</c:v>
                </c:pt>
                <c:pt idx="326">
                  <c:v>33.04231644925401</c:v>
                </c:pt>
                <c:pt idx="327">
                  <c:v>33.036530683309678</c:v>
                </c:pt>
                <c:pt idx="328">
                  <c:v>33.015701925910058</c:v>
                </c:pt>
                <c:pt idx="329">
                  <c:v>32.715034955669246</c:v>
                </c:pt>
                <c:pt idx="330">
                  <c:v>32.805678622130557</c:v>
                </c:pt>
                <c:pt idx="331">
                  <c:v>32.574633702086622</c:v>
                </c:pt>
                <c:pt idx="332">
                  <c:v>32.550719202850026</c:v>
                </c:pt>
                <c:pt idx="333">
                  <c:v>32.421696622291272</c:v>
                </c:pt>
                <c:pt idx="334">
                  <c:v>32.597969624728798</c:v>
                </c:pt>
                <c:pt idx="335">
                  <c:v>32.372131894034773</c:v>
                </c:pt>
                <c:pt idx="336">
                  <c:v>32.234044946829883</c:v>
                </c:pt>
                <c:pt idx="337">
                  <c:v>32.463546995955326</c:v>
                </c:pt>
                <c:pt idx="338">
                  <c:v>32.529890445450405</c:v>
                </c:pt>
                <c:pt idx="339">
                  <c:v>32.423818069804199</c:v>
                </c:pt>
                <c:pt idx="340">
                  <c:v>32.340310181340911</c:v>
                </c:pt>
                <c:pt idx="341">
                  <c:v>32.662191626710957</c:v>
                </c:pt>
                <c:pt idx="342">
                  <c:v>32.986001660729116</c:v>
                </c:pt>
                <c:pt idx="343">
                  <c:v>32.666048804007175</c:v>
                </c:pt>
                <c:pt idx="344">
                  <c:v>32.585240939651243</c:v>
                </c:pt>
                <c:pt idx="345">
                  <c:v>32.866622023410926</c:v>
                </c:pt>
                <c:pt idx="346">
                  <c:v>32.867972035464604</c:v>
                </c:pt>
                <c:pt idx="347">
                  <c:v>32.840007500066967</c:v>
                </c:pt>
                <c:pt idx="348">
                  <c:v>32.744735220850188</c:v>
                </c:pt>
                <c:pt idx="349">
                  <c:v>32.493247261136261</c:v>
                </c:pt>
                <c:pt idx="350">
                  <c:v>32.592183858784459</c:v>
                </c:pt>
                <c:pt idx="351">
                  <c:v>32.721206439343213</c:v>
                </c:pt>
                <c:pt idx="352">
                  <c:v>33.050995098170524</c:v>
                </c:pt>
                <c:pt idx="353">
                  <c:v>33.113674229234192</c:v>
                </c:pt>
                <c:pt idx="354">
                  <c:v>32.869900624112717</c:v>
                </c:pt>
                <c:pt idx="355">
                  <c:v>33.018016232287792</c:v>
                </c:pt>
                <c:pt idx="356">
                  <c:v>32.975780140894116</c:v>
                </c:pt>
                <c:pt idx="357">
                  <c:v>32.656405860766618</c:v>
                </c:pt>
                <c:pt idx="358">
                  <c:v>32.954758524629689</c:v>
                </c:pt>
                <c:pt idx="359">
                  <c:v>33.070088125786839</c:v>
                </c:pt>
                <c:pt idx="360">
                  <c:v>32.911750997776771</c:v>
                </c:pt>
                <c:pt idx="361">
                  <c:v>32.834993169581871</c:v>
                </c:pt>
                <c:pt idx="362">
                  <c:v>32.749363833605656</c:v>
                </c:pt>
                <c:pt idx="363">
                  <c:v>32.654862989848127</c:v>
                </c:pt>
                <c:pt idx="364">
                  <c:v>32.733935124420753</c:v>
                </c:pt>
                <c:pt idx="365">
                  <c:v>32.861800551790644</c:v>
                </c:pt>
                <c:pt idx="366">
                  <c:v>32.626512736720869</c:v>
                </c:pt>
                <c:pt idx="367">
                  <c:v>32.880893579406965</c:v>
                </c:pt>
                <c:pt idx="368">
                  <c:v>33.293225832373508</c:v>
                </c:pt>
                <c:pt idx="369">
                  <c:v>33.021294832989582</c:v>
                </c:pt>
                <c:pt idx="370">
                  <c:v>33.321961803230387</c:v>
                </c:pt>
                <c:pt idx="371">
                  <c:v>33.195832105643802</c:v>
                </c:pt>
                <c:pt idx="372">
                  <c:v>32.862186269520265</c:v>
                </c:pt>
                <c:pt idx="373">
                  <c:v>33.161117509977771</c:v>
                </c:pt>
                <c:pt idx="374">
                  <c:v>33.319068920258218</c:v>
                </c:pt>
                <c:pt idx="375">
                  <c:v>33.995424959151428</c:v>
                </c:pt>
                <c:pt idx="376">
                  <c:v>33.354362092518684</c:v>
                </c:pt>
                <c:pt idx="377">
                  <c:v>33.47142742345914</c:v>
                </c:pt>
                <c:pt idx="378">
                  <c:v>33.400262502343772</c:v>
                </c:pt>
                <c:pt idx="379">
                  <c:v>33.483384673077445</c:v>
                </c:pt>
                <c:pt idx="380">
                  <c:v>34.10824739506603</c:v>
                </c:pt>
                <c:pt idx="381">
                  <c:v>34.295899070527412</c:v>
                </c:pt>
                <c:pt idx="382">
                  <c:v>34.525208260788048</c:v>
                </c:pt>
                <c:pt idx="383">
                  <c:v>34.56725149331691</c:v>
                </c:pt>
                <c:pt idx="384">
                  <c:v>34.388857043366464</c:v>
                </c:pt>
                <c:pt idx="385">
                  <c:v>34.454236198537494</c:v>
                </c:pt>
                <c:pt idx="386">
                  <c:v>34.257327297565155</c:v>
                </c:pt>
                <c:pt idx="387">
                  <c:v>34.329263654139766</c:v>
                </c:pt>
                <c:pt idx="388">
                  <c:v>34.349513834944958</c:v>
                </c:pt>
                <c:pt idx="389">
                  <c:v>34.12907615246565</c:v>
                </c:pt>
                <c:pt idx="390">
                  <c:v>34.199276779256955</c:v>
                </c:pt>
                <c:pt idx="391">
                  <c:v>33.970546165590768</c:v>
                </c:pt>
                <c:pt idx="392">
                  <c:v>33.720408217930519</c:v>
                </c:pt>
                <c:pt idx="393">
                  <c:v>34.240548576326574</c:v>
                </c:pt>
                <c:pt idx="394">
                  <c:v>34.53215117992125</c:v>
                </c:pt>
                <c:pt idx="395">
                  <c:v>34.219719818926954</c:v>
                </c:pt>
                <c:pt idx="396">
                  <c:v>34.226469879195349</c:v>
                </c:pt>
                <c:pt idx="397">
                  <c:v>34.174976562290738</c:v>
                </c:pt>
                <c:pt idx="398">
                  <c:v>34.146047732569045</c:v>
                </c:pt>
                <c:pt idx="399">
                  <c:v>34.245370047946864</c:v>
                </c:pt>
                <c:pt idx="400">
                  <c:v>34.06658988026679</c:v>
                </c:pt>
                <c:pt idx="401">
                  <c:v>33.815101920552863</c:v>
                </c:pt>
                <c:pt idx="402">
                  <c:v>33.982889132938688</c:v>
                </c:pt>
                <c:pt idx="403">
                  <c:v>33.636321752872796</c:v>
                </c:pt>
                <c:pt idx="404">
                  <c:v>33.386183805212546</c:v>
                </c:pt>
                <c:pt idx="405">
                  <c:v>33.593507084884685</c:v>
                </c:pt>
                <c:pt idx="406">
                  <c:v>33.456963008598294</c:v>
                </c:pt>
                <c:pt idx="407">
                  <c:v>33.310004553612089</c:v>
                </c:pt>
                <c:pt idx="408">
                  <c:v>33.293418691238315</c:v>
                </c:pt>
                <c:pt idx="409">
                  <c:v>33.098245520049289</c:v>
                </c:pt>
                <c:pt idx="410">
                  <c:v>32.490932954758527</c:v>
                </c:pt>
                <c:pt idx="411">
                  <c:v>33.085131117242121</c:v>
                </c:pt>
                <c:pt idx="412">
                  <c:v>33.386569522942175</c:v>
                </c:pt>
                <c:pt idx="413">
                  <c:v>33.4195483888249</c:v>
                </c:pt>
                <c:pt idx="414">
                  <c:v>33.402191090991892</c:v>
                </c:pt>
                <c:pt idx="415">
                  <c:v>33.240189644550398</c:v>
                </c:pt>
                <c:pt idx="416">
                  <c:v>33.317911767069347</c:v>
                </c:pt>
                <c:pt idx="417">
                  <c:v>33.580971258671958</c:v>
                </c:pt>
                <c:pt idx="418">
                  <c:v>33.449827230600278</c:v>
                </c:pt>
                <c:pt idx="419">
                  <c:v>33.332569040795008</c:v>
                </c:pt>
                <c:pt idx="420">
                  <c:v>33.410869739908392</c:v>
                </c:pt>
                <c:pt idx="421">
                  <c:v>33.129295797283902</c:v>
                </c:pt>
                <c:pt idx="422">
                  <c:v>33.156488897222296</c:v>
                </c:pt>
                <c:pt idx="423">
                  <c:v>32.926601130367239</c:v>
                </c:pt>
                <c:pt idx="424">
                  <c:v>32.903072348860256</c:v>
                </c:pt>
                <c:pt idx="425">
                  <c:v>32.940294109768836</c:v>
                </c:pt>
                <c:pt idx="426">
                  <c:v>32.956301395548174</c:v>
                </c:pt>
                <c:pt idx="427">
                  <c:v>32.946658452307609</c:v>
                </c:pt>
                <c:pt idx="428">
                  <c:v>32.867586317734983</c:v>
                </c:pt>
                <c:pt idx="429">
                  <c:v>32.822071625639516</c:v>
                </c:pt>
                <c:pt idx="430">
                  <c:v>32.765178260520187</c:v>
                </c:pt>
                <c:pt idx="431">
                  <c:v>32.50019018026947</c:v>
                </c:pt>
                <c:pt idx="432">
                  <c:v>32.532590469557768</c:v>
                </c:pt>
                <c:pt idx="433">
                  <c:v>32.444646827203812</c:v>
                </c:pt>
                <c:pt idx="434">
                  <c:v>32.230380628398471</c:v>
                </c:pt>
                <c:pt idx="435">
                  <c:v>32.131058313020652</c:v>
                </c:pt>
                <c:pt idx="436">
                  <c:v>32.047164706827743</c:v>
                </c:pt>
                <c:pt idx="437">
                  <c:v>32.210130447593286</c:v>
                </c:pt>
                <c:pt idx="438">
                  <c:v>32.209937588728479</c:v>
                </c:pt>
                <c:pt idx="439">
                  <c:v>31.917949267404175</c:v>
                </c:pt>
                <c:pt idx="440">
                  <c:v>32.044850400450002</c:v>
                </c:pt>
                <c:pt idx="441">
                  <c:v>32.010714381378406</c:v>
                </c:pt>
                <c:pt idx="442">
                  <c:v>32.139544103072353</c:v>
                </c:pt>
                <c:pt idx="443">
                  <c:v>31.976385503442</c:v>
                </c:pt>
                <c:pt idx="444">
                  <c:v>31.651996892829402</c:v>
                </c:pt>
                <c:pt idx="445">
                  <c:v>32.149765622907353</c:v>
                </c:pt>
                <c:pt idx="446">
                  <c:v>32.27377387298101</c:v>
                </c:pt>
                <c:pt idx="447">
                  <c:v>32.140894115126031</c:v>
                </c:pt>
                <c:pt idx="448">
                  <c:v>32.191037419976965</c:v>
                </c:pt>
                <c:pt idx="449">
                  <c:v>31.799148206680417</c:v>
                </c:pt>
                <c:pt idx="450">
                  <c:v>31.653154046018273</c:v>
                </c:pt>
                <c:pt idx="451">
                  <c:v>31.529145795944608</c:v>
                </c:pt>
                <c:pt idx="452">
                  <c:v>31.69172581898053</c:v>
                </c:pt>
                <c:pt idx="453">
                  <c:v>31.863177349797773</c:v>
                </c:pt>
                <c:pt idx="454">
                  <c:v>31.726247555781747</c:v>
                </c:pt>
                <c:pt idx="455">
                  <c:v>31.852184394503524</c:v>
                </c:pt>
                <c:pt idx="456">
                  <c:v>31.83829855623711</c:v>
                </c:pt>
                <c:pt idx="457">
                  <c:v>31.822291270457772</c:v>
                </c:pt>
                <c:pt idx="458">
                  <c:v>31.800883936463723</c:v>
                </c:pt>
                <c:pt idx="459">
                  <c:v>31.915827819891252</c:v>
                </c:pt>
                <c:pt idx="460">
                  <c:v>31.800305359869288</c:v>
                </c:pt>
                <c:pt idx="461">
                  <c:v>31.90059196957116</c:v>
                </c:pt>
                <c:pt idx="462">
                  <c:v>31.954399592853509</c:v>
                </c:pt>
                <c:pt idx="463">
                  <c:v>31.774847989714193</c:v>
                </c:pt>
                <c:pt idx="464">
                  <c:v>31.670511343851288</c:v>
                </c:pt>
                <c:pt idx="465">
                  <c:v>31.909463477352478</c:v>
                </c:pt>
                <c:pt idx="466">
                  <c:v>31.837912838507489</c:v>
                </c:pt>
                <c:pt idx="467">
                  <c:v>32.293059759462139</c:v>
                </c:pt>
                <c:pt idx="468">
                  <c:v>32.490354378164092</c:v>
                </c:pt>
                <c:pt idx="469">
                  <c:v>32.588133822623419</c:v>
                </c:pt>
                <c:pt idx="470">
                  <c:v>32.605298261591628</c:v>
                </c:pt>
                <c:pt idx="471">
                  <c:v>33.090145447727217</c:v>
                </c:pt>
                <c:pt idx="472">
                  <c:v>32.999116063536285</c:v>
                </c:pt>
                <c:pt idx="473">
                  <c:v>33.195253529049367</c:v>
                </c:pt>
                <c:pt idx="474">
                  <c:v>33.159960356788908</c:v>
                </c:pt>
                <c:pt idx="475">
                  <c:v>32.774242627166316</c:v>
                </c:pt>
                <c:pt idx="476">
                  <c:v>33.132574397985699</c:v>
                </c:pt>
                <c:pt idx="477">
                  <c:v>32.721592157072834</c:v>
                </c:pt>
                <c:pt idx="478">
                  <c:v>32.591219564460395</c:v>
                </c:pt>
                <c:pt idx="479">
                  <c:v>32.418225162724667</c:v>
                </c:pt>
                <c:pt idx="480">
                  <c:v>32.340888757935339</c:v>
                </c:pt>
                <c:pt idx="481">
                  <c:v>32.052371896177647</c:v>
                </c:pt>
                <c:pt idx="482">
                  <c:v>31.981206975062278</c:v>
                </c:pt>
                <c:pt idx="483">
                  <c:v>31.954399592853509</c:v>
                </c:pt>
                <c:pt idx="484">
                  <c:v>31.980435539603032</c:v>
                </c:pt>
                <c:pt idx="485">
                  <c:v>32.020743042348592</c:v>
                </c:pt>
                <c:pt idx="486">
                  <c:v>31.938006589344546</c:v>
                </c:pt>
                <c:pt idx="487">
                  <c:v>31.854691559746072</c:v>
                </c:pt>
                <c:pt idx="488">
                  <c:v>31.717376048000432</c:v>
                </c:pt>
                <c:pt idx="489">
                  <c:v>31.866648809364367</c:v>
                </c:pt>
                <c:pt idx="490">
                  <c:v>31.863948785257016</c:v>
                </c:pt>
                <c:pt idx="491">
                  <c:v>32.017850159376422</c:v>
                </c:pt>
                <c:pt idx="492">
                  <c:v>31.990657059438032</c:v>
                </c:pt>
                <c:pt idx="493">
                  <c:v>32.009171510459922</c:v>
                </c:pt>
                <c:pt idx="494">
                  <c:v>31.950735274422097</c:v>
                </c:pt>
                <c:pt idx="495">
                  <c:v>31.679768569362231</c:v>
                </c:pt>
                <c:pt idx="496">
                  <c:v>31.688447218278736</c:v>
                </c:pt>
                <c:pt idx="497">
                  <c:v>31.778898025875232</c:v>
                </c:pt>
                <c:pt idx="498">
                  <c:v>31.739169099724108</c:v>
                </c:pt>
                <c:pt idx="499">
                  <c:v>31.70946883454317</c:v>
                </c:pt>
                <c:pt idx="500">
                  <c:v>31.838684273966734</c:v>
                </c:pt>
                <c:pt idx="501">
                  <c:v>31.865491656175504</c:v>
                </c:pt>
                <c:pt idx="502">
                  <c:v>31.729911874213165</c:v>
                </c:pt>
                <c:pt idx="503">
                  <c:v>32.025178796239253</c:v>
                </c:pt>
                <c:pt idx="504">
                  <c:v>31.833284225752017</c:v>
                </c:pt>
                <c:pt idx="505">
                  <c:v>31.584689149010263</c:v>
                </c:pt>
                <c:pt idx="506">
                  <c:v>31.367530067232746</c:v>
                </c:pt>
                <c:pt idx="507">
                  <c:v>31.430402057161224</c:v>
                </c:pt>
                <c:pt idx="508">
                  <c:v>31.222693059759465</c:v>
                </c:pt>
                <c:pt idx="509">
                  <c:v>31.305429512763506</c:v>
                </c:pt>
                <c:pt idx="510">
                  <c:v>31.474373878338202</c:v>
                </c:pt>
                <c:pt idx="511">
                  <c:v>31.498288377574802</c:v>
                </c:pt>
                <c:pt idx="512">
                  <c:v>31.385658800525007</c:v>
                </c:pt>
                <c:pt idx="513">
                  <c:v>31.205528620791259</c:v>
                </c:pt>
                <c:pt idx="514">
                  <c:v>31.13725658264806</c:v>
                </c:pt>
                <c:pt idx="515">
                  <c:v>31.282286448986152</c:v>
                </c:pt>
                <c:pt idx="516">
                  <c:v>31.485752551362069</c:v>
                </c:pt>
                <c:pt idx="517">
                  <c:v>31.41767337208368</c:v>
                </c:pt>
                <c:pt idx="518">
                  <c:v>31.637532477968556</c:v>
                </c:pt>
                <c:pt idx="519">
                  <c:v>31.603589317761767</c:v>
                </c:pt>
                <c:pt idx="520">
                  <c:v>31.672825650229019</c:v>
                </c:pt>
                <c:pt idx="521">
                  <c:v>31.444287895427642</c:v>
                </c:pt>
                <c:pt idx="522">
                  <c:v>31.447180778399805</c:v>
                </c:pt>
                <c:pt idx="523">
                  <c:v>31.372544397717842</c:v>
                </c:pt>
                <c:pt idx="524">
                  <c:v>31.596453539763747</c:v>
                </c:pt>
                <c:pt idx="525">
                  <c:v>31.504459861248762</c:v>
                </c:pt>
                <c:pt idx="526">
                  <c:v>31.223078777489089</c:v>
                </c:pt>
                <c:pt idx="527">
                  <c:v>31.15904963437174</c:v>
                </c:pt>
                <c:pt idx="528">
                  <c:v>31.125877909624197</c:v>
                </c:pt>
                <c:pt idx="529">
                  <c:v>30.874004232180642</c:v>
                </c:pt>
                <c:pt idx="530">
                  <c:v>31.087691854391561</c:v>
                </c:pt>
                <c:pt idx="531">
                  <c:v>31.492502611630464</c:v>
                </c:pt>
                <c:pt idx="532">
                  <c:v>31.217485870409561</c:v>
                </c:pt>
                <c:pt idx="533">
                  <c:v>31.236771756890686</c:v>
                </c:pt>
                <c:pt idx="534">
                  <c:v>30.84951115634961</c:v>
                </c:pt>
                <c:pt idx="535">
                  <c:v>31.133399405351831</c:v>
                </c:pt>
                <c:pt idx="536">
                  <c:v>30.822125197546413</c:v>
                </c:pt>
                <c:pt idx="537">
                  <c:v>30.790110625987737</c:v>
                </c:pt>
                <c:pt idx="538">
                  <c:v>30.881332869043476</c:v>
                </c:pt>
                <c:pt idx="539">
                  <c:v>30.828103822355558</c:v>
                </c:pt>
                <c:pt idx="540">
                  <c:v>30.772560469289907</c:v>
                </c:pt>
                <c:pt idx="541">
                  <c:v>30.753853159403214</c:v>
                </c:pt>
                <c:pt idx="542">
                  <c:v>30.833696729435086</c:v>
                </c:pt>
                <c:pt idx="543">
                  <c:v>30.824632362788954</c:v>
                </c:pt>
                <c:pt idx="544">
                  <c:v>30.682688238287845</c:v>
                </c:pt>
                <c:pt idx="545">
                  <c:v>30.643537888731156</c:v>
                </c:pt>
                <c:pt idx="546">
                  <c:v>30.604194680309643</c:v>
                </c:pt>
                <c:pt idx="547">
                  <c:v>30.465722015375142</c:v>
                </c:pt>
                <c:pt idx="548">
                  <c:v>29.951560281788229</c:v>
                </c:pt>
                <c:pt idx="549">
                  <c:v>29.870752417432296</c:v>
                </c:pt>
                <c:pt idx="550">
                  <c:v>30.028318109983129</c:v>
                </c:pt>
                <c:pt idx="551">
                  <c:v>29.765644336110149</c:v>
                </c:pt>
                <c:pt idx="552">
                  <c:v>29.453598692845475</c:v>
                </c:pt>
                <c:pt idx="553">
                  <c:v>29.405191117777839</c:v>
                </c:pt>
                <c:pt idx="554">
                  <c:v>29.237018187662393</c:v>
                </c:pt>
                <c:pt idx="555">
                  <c:v>29.226218091232962</c:v>
                </c:pt>
                <c:pt idx="556">
                  <c:v>29.093338333377975</c:v>
                </c:pt>
                <c:pt idx="557">
                  <c:v>28.78727131492246</c:v>
                </c:pt>
                <c:pt idx="558">
                  <c:v>28.836643184314148</c:v>
                </c:pt>
                <c:pt idx="559">
                  <c:v>28.948887043634322</c:v>
                </c:pt>
                <c:pt idx="560">
                  <c:v>28.922272520290363</c:v>
                </c:pt>
                <c:pt idx="561">
                  <c:v>29.110502772346187</c:v>
                </c:pt>
                <c:pt idx="562">
                  <c:v>29.121302868775619</c:v>
                </c:pt>
                <c:pt idx="563">
                  <c:v>29.051102241984307</c:v>
                </c:pt>
                <c:pt idx="564">
                  <c:v>28.90568665791659</c:v>
                </c:pt>
                <c:pt idx="565">
                  <c:v>28.824878793560657</c:v>
                </c:pt>
                <c:pt idx="566">
                  <c:v>28.402325020759115</c:v>
                </c:pt>
                <c:pt idx="567">
                  <c:v>28.340417325154693</c:v>
                </c:pt>
                <c:pt idx="568">
                  <c:v>28.327881498941956</c:v>
                </c:pt>
                <c:pt idx="569">
                  <c:v>28.25228082393593</c:v>
                </c:pt>
                <c:pt idx="570">
                  <c:v>28.272723863605925</c:v>
                </c:pt>
                <c:pt idx="571">
                  <c:v>28.393260654112986</c:v>
                </c:pt>
                <c:pt idx="572">
                  <c:v>28.439546781667698</c:v>
                </c:pt>
                <c:pt idx="573">
                  <c:v>28.558926418985884</c:v>
                </c:pt>
                <c:pt idx="574">
                  <c:v>28.399817855516567</c:v>
                </c:pt>
                <c:pt idx="575">
                  <c:v>28.44745399512496</c:v>
                </c:pt>
                <c:pt idx="576">
                  <c:v>28.689684729327944</c:v>
                </c:pt>
                <c:pt idx="577">
                  <c:v>28.320167144349504</c:v>
                </c:pt>
                <c:pt idx="578">
                  <c:v>28.533661907695606</c:v>
                </c:pt>
                <c:pt idx="579">
                  <c:v>28.364910400985721</c:v>
                </c:pt>
                <c:pt idx="580">
                  <c:v>28.426239519995718</c:v>
                </c:pt>
                <c:pt idx="581">
                  <c:v>28.247652211180462</c:v>
                </c:pt>
                <c:pt idx="582">
                  <c:v>28.515726033268152</c:v>
                </c:pt>
                <c:pt idx="583">
                  <c:v>28.501454477272119</c:v>
                </c:pt>
                <c:pt idx="584">
                  <c:v>28.538869097045513</c:v>
                </c:pt>
                <c:pt idx="585">
                  <c:v>28.396346395949966</c:v>
                </c:pt>
                <c:pt idx="586">
                  <c:v>28.582840918222487</c:v>
                </c:pt>
                <c:pt idx="587">
                  <c:v>28.659213028687759</c:v>
                </c:pt>
                <c:pt idx="588">
                  <c:v>28.777049795087461</c:v>
                </c:pt>
                <c:pt idx="589">
                  <c:v>29.020244823614501</c:v>
                </c:pt>
                <c:pt idx="590">
                  <c:v>28.829507406316129</c:v>
                </c:pt>
                <c:pt idx="591">
                  <c:v>29.125352904936651</c:v>
                </c:pt>
                <c:pt idx="592">
                  <c:v>29.223325208260786</c:v>
                </c:pt>
                <c:pt idx="593">
                  <c:v>28.793828516326041</c:v>
                </c:pt>
                <c:pt idx="594">
                  <c:v>29.443955749604907</c:v>
                </c:pt>
                <c:pt idx="595">
                  <c:v>29.224096643720035</c:v>
                </c:pt>
                <c:pt idx="596">
                  <c:v>28.976658720167148</c:v>
                </c:pt>
                <c:pt idx="597">
                  <c:v>28.92747970964027</c:v>
                </c:pt>
                <c:pt idx="598">
                  <c:v>29.072895293707983</c:v>
                </c:pt>
                <c:pt idx="599">
                  <c:v>29.199217850159378</c:v>
                </c:pt>
                <c:pt idx="600">
                  <c:v>28.983987357029971</c:v>
                </c:pt>
                <c:pt idx="601">
                  <c:v>28.78727131492246</c:v>
                </c:pt>
                <c:pt idx="602">
                  <c:v>28.882929311868853</c:v>
                </c:pt>
                <c:pt idx="603">
                  <c:v>28.914172447968287</c:v>
                </c:pt>
                <c:pt idx="604">
                  <c:v>29.004044678970352</c:v>
                </c:pt>
                <c:pt idx="605">
                  <c:v>28.633369940803046</c:v>
                </c:pt>
                <c:pt idx="606">
                  <c:v>28.453432619934109</c:v>
                </c:pt>
                <c:pt idx="607">
                  <c:v>28.679270350628133</c:v>
                </c:pt>
                <c:pt idx="608">
                  <c:v>28.579176599791069</c:v>
                </c:pt>
                <c:pt idx="609">
                  <c:v>28.414860846971848</c:v>
                </c:pt>
                <c:pt idx="610">
                  <c:v>28.147944178073018</c:v>
                </c:pt>
                <c:pt idx="611">
                  <c:v>28.290274020303759</c:v>
                </c:pt>
                <c:pt idx="612">
                  <c:v>28.332895829427045</c:v>
                </c:pt>
                <c:pt idx="613">
                  <c:v>28.363560388932047</c:v>
                </c:pt>
                <c:pt idx="614">
                  <c:v>28.56721935017277</c:v>
                </c:pt>
                <c:pt idx="615">
                  <c:v>28.599426780596261</c:v>
                </c:pt>
                <c:pt idx="616">
                  <c:v>28.501261618407309</c:v>
                </c:pt>
                <c:pt idx="617">
                  <c:v>28.429518120697505</c:v>
                </c:pt>
                <c:pt idx="618">
                  <c:v>28.44456111215279</c:v>
                </c:pt>
                <c:pt idx="619">
                  <c:v>28.551983499852678</c:v>
                </c:pt>
                <c:pt idx="620">
                  <c:v>27.856148715613536</c:v>
                </c:pt>
                <c:pt idx="621">
                  <c:v>27.672161358583558</c:v>
                </c:pt>
                <c:pt idx="622">
                  <c:v>27.674668523826107</c:v>
                </c:pt>
                <c:pt idx="623">
                  <c:v>27.889127581496261</c:v>
                </c:pt>
                <c:pt idx="624">
                  <c:v>27.828955615675142</c:v>
                </c:pt>
                <c:pt idx="625">
                  <c:v>27.739469102402701</c:v>
                </c:pt>
                <c:pt idx="626">
                  <c:v>27.352015642996815</c:v>
                </c:pt>
                <c:pt idx="627">
                  <c:v>27.881220368039003</c:v>
                </c:pt>
                <c:pt idx="628">
                  <c:v>28.017378726595776</c:v>
                </c:pt>
                <c:pt idx="629">
                  <c:v>28.010242948597757</c:v>
                </c:pt>
                <c:pt idx="630">
                  <c:v>28.265780944472716</c:v>
                </c:pt>
                <c:pt idx="631">
                  <c:v>28.209080438218198</c:v>
                </c:pt>
                <c:pt idx="632">
                  <c:v>28.174172983687352</c:v>
                </c:pt>
                <c:pt idx="633">
                  <c:v>28.010435807462571</c:v>
                </c:pt>
                <c:pt idx="634">
                  <c:v>28.053829052045113</c:v>
                </c:pt>
                <c:pt idx="635">
                  <c:v>27.941006616130505</c:v>
                </c:pt>
                <c:pt idx="636">
                  <c:v>28.346588808828649</c:v>
                </c:pt>
                <c:pt idx="637">
                  <c:v>28.339645889695447</c:v>
                </c:pt>
                <c:pt idx="638">
                  <c:v>28.43009669729194</c:v>
                </c:pt>
                <c:pt idx="639">
                  <c:v>28.581298047303992</c:v>
                </c:pt>
                <c:pt idx="640">
                  <c:v>28.258838025339514</c:v>
                </c:pt>
                <c:pt idx="641">
                  <c:v>28.308595612460827</c:v>
                </c:pt>
                <c:pt idx="642">
                  <c:v>28.397696408003643</c:v>
                </c:pt>
                <c:pt idx="643">
                  <c:v>28.404060750542417</c:v>
                </c:pt>
                <c:pt idx="644">
                  <c:v>28.473489941874483</c:v>
                </c:pt>
                <c:pt idx="645">
                  <c:v>28.206958990705274</c:v>
                </c:pt>
                <c:pt idx="646">
                  <c:v>28.413125117188546</c:v>
                </c:pt>
                <c:pt idx="647">
                  <c:v>28.156044250395098</c:v>
                </c:pt>
                <c:pt idx="648">
                  <c:v>28.081793587442746</c:v>
                </c:pt>
                <c:pt idx="649">
                  <c:v>28.243216457289801</c:v>
                </c:pt>
                <c:pt idx="650">
                  <c:v>28.279473923874324</c:v>
                </c:pt>
                <c:pt idx="651">
                  <c:v>28.199437494977637</c:v>
                </c:pt>
                <c:pt idx="652">
                  <c:v>27.995971392601724</c:v>
                </c:pt>
                <c:pt idx="653">
                  <c:v>28.265395226743095</c:v>
                </c:pt>
                <c:pt idx="654">
                  <c:v>28.316309967053279</c:v>
                </c:pt>
                <c:pt idx="655">
                  <c:v>28.16915865320226</c:v>
                </c:pt>
                <c:pt idx="656">
                  <c:v>28.131165456834438</c:v>
                </c:pt>
                <c:pt idx="657">
                  <c:v>27.957013901909839</c:v>
                </c:pt>
                <c:pt idx="658">
                  <c:v>27.909956338895885</c:v>
                </c:pt>
                <c:pt idx="659">
                  <c:v>27.763576460504112</c:v>
                </c:pt>
                <c:pt idx="660">
                  <c:v>27.757983553424584</c:v>
                </c:pt>
                <c:pt idx="661">
                  <c:v>27.238614630487774</c:v>
                </c:pt>
                <c:pt idx="662">
                  <c:v>27.200042857525514</c:v>
                </c:pt>
                <c:pt idx="663">
                  <c:v>27.139099456245145</c:v>
                </c:pt>
                <c:pt idx="664">
                  <c:v>26.979412316181399</c:v>
                </c:pt>
                <c:pt idx="665">
                  <c:v>26.747403101813415</c:v>
                </c:pt>
                <c:pt idx="666">
                  <c:v>26.684723970749744</c:v>
                </c:pt>
                <c:pt idx="667">
                  <c:v>26.833418155519247</c:v>
                </c:pt>
                <c:pt idx="668">
                  <c:v>26.964755042455739</c:v>
                </c:pt>
                <c:pt idx="669">
                  <c:v>26.871604210751883</c:v>
                </c:pt>
                <c:pt idx="670">
                  <c:v>26.461393405298264</c:v>
                </c:pt>
                <c:pt idx="671">
                  <c:v>26.392928508290254</c:v>
                </c:pt>
                <c:pt idx="672">
                  <c:v>26.31790640987866</c:v>
                </c:pt>
                <c:pt idx="673">
                  <c:v>26.067575603353607</c:v>
                </c:pt>
                <c:pt idx="674">
                  <c:v>26.092261538049449</c:v>
                </c:pt>
                <c:pt idx="675">
                  <c:v>25.982910561701445</c:v>
                </c:pt>
                <c:pt idx="676">
                  <c:v>26.200069643478958</c:v>
                </c:pt>
                <c:pt idx="677">
                  <c:v>26.185219510888494</c:v>
                </c:pt>
                <c:pt idx="678">
                  <c:v>25.967867570246163</c:v>
                </c:pt>
                <c:pt idx="679">
                  <c:v>25.913481370369382</c:v>
                </c:pt>
                <c:pt idx="680">
                  <c:v>25.902874132804754</c:v>
                </c:pt>
                <c:pt idx="681">
                  <c:v>25.955910320627861</c:v>
                </c:pt>
                <c:pt idx="682">
                  <c:v>25.902102697345512</c:v>
                </c:pt>
                <c:pt idx="683">
                  <c:v>25.86314520665363</c:v>
                </c:pt>
                <c:pt idx="684">
                  <c:v>25.723708247395066</c:v>
                </c:pt>
                <c:pt idx="685">
                  <c:v>25.917917124260043</c:v>
                </c:pt>
                <c:pt idx="686">
                  <c:v>25.68532933329762</c:v>
                </c:pt>
                <c:pt idx="687">
                  <c:v>25.669129188653471</c:v>
                </c:pt>
                <c:pt idx="688">
                  <c:v>25.855237993196369</c:v>
                </c:pt>
                <c:pt idx="689">
                  <c:v>25.767101491977606</c:v>
                </c:pt>
                <c:pt idx="690">
                  <c:v>25.581956981758768</c:v>
                </c:pt>
                <c:pt idx="691">
                  <c:v>25.553606728631511</c:v>
                </c:pt>
                <c:pt idx="692">
                  <c:v>25.499991964213969</c:v>
                </c:pt>
                <c:pt idx="693">
                  <c:v>25.489191867784537</c:v>
                </c:pt>
                <c:pt idx="694">
                  <c:v>25.274154233519944</c:v>
                </c:pt>
                <c:pt idx="695">
                  <c:v>25.466627380601611</c:v>
                </c:pt>
                <c:pt idx="696">
                  <c:v>25.563249671872072</c:v>
                </c:pt>
                <c:pt idx="697">
                  <c:v>25.185824873436371</c:v>
                </c:pt>
                <c:pt idx="698">
                  <c:v>25.685907909892052</c:v>
                </c:pt>
                <c:pt idx="699">
                  <c:v>25.52834221734123</c:v>
                </c:pt>
                <c:pt idx="700">
                  <c:v>25.58658559451424</c:v>
                </c:pt>
                <c:pt idx="701">
                  <c:v>25.642128947579888</c:v>
                </c:pt>
                <c:pt idx="702">
                  <c:v>25.544349503120564</c:v>
                </c:pt>
                <c:pt idx="703">
                  <c:v>25.563635389601693</c:v>
                </c:pt>
                <c:pt idx="704">
                  <c:v>25.302311627782395</c:v>
                </c:pt>
                <c:pt idx="705">
                  <c:v>25.015337636943187</c:v>
                </c:pt>
                <c:pt idx="706">
                  <c:v>24.777928374360489</c:v>
                </c:pt>
                <c:pt idx="707">
                  <c:v>24.870886347199527</c:v>
                </c:pt>
                <c:pt idx="708">
                  <c:v>24.690949026330596</c:v>
                </c:pt>
                <c:pt idx="709">
                  <c:v>24.551319208207218</c:v>
                </c:pt>
                <c:pt idx="710">
                  <c:v>24.477454262984494</c:v>
                </c:pt>
                <c:pt idx="711">
                  <c:v>24.623255564781829</c:v>
                </c:pt>
                <c:pt idx="712">
                  <c:v>24.7815926927919</c:v>
                </c:pt>
                <c:pt idx="713">
                  <c:v>24.539554817453734</c:v>
                </c:pt>
                <c:pt idx="714">
                  <c:v>24.483047170064019</c:v>
                </c:pt>
                <c:pt idx="715">
                  <c:v>24.372924758256772</c:v>
                </c:pt>
                <c:pt idx="716">
                  <c:v>24.417475156028178</c:v>
                </c:pt>
                <c:pt idx="717">
                  <c:v>24.37543192349932</c:v>
                </c:pt>
                <c:pt idx="718">
                  <c:v>24.36193180296253</c:v>
                </c:pt>
                <c:pt idx="719">
                  <c:v>24.277459620175179</c:v>
                </c:pt>
                <c:pt idx="720">
                  <c:v>23.759054991562426</c:v>
                </c:pt>
                <c:pt idx="721">
                  <c:v>24.039278922133235</c:v>
                </c:pt>
                <c:pt idx="722">
                  <c:v>24.093472263145209</c:v>
                </c:pt>
                <c:pt idx="723">
                  <c:v>23.774869418476953</c:v>
                </c:pt>
                <c:pt idx="724">
                  <c:v>23.886341842337881</c:v>
                </c:pt>
                <c:pt idx="725">
                  <c:v>23.693290118661775</c:v>
                </c:pt>
                <c:pt idx="726">
                  <c:v>23.625210939383386</c:v>
                </c:pt>
                <c:pt idx="727">
                  <c:v>23.733790480272148</c:v>
                </c:pt>
                <c:pt idx="728">
                  <c:v>23.489438298556237</c:v>
                </c:pt>
                <c:pt idx="729">
                  <c:v>23.612289395441032</c:v>
                </c:pt>
                <c:pt idx="730">
                  <c:v>23.826362735381565</c:v>
                </c:pt>
                <c:pt idx="731">
                  <c:v>23.781812337610155</c:v>
                </c:pt>
                <c:pt idx="732">
                  <c:v>23.424059143385207</c:v>
                </c:pt>
                <c:pt idx="733">
                  <c:v>22.98646237912839</c:v>
                </c:pt>
                <c:pt idx="734">
                  <c:v>22.956569255082634</c:v>
                </c:pt>
                <c:pt idx="735">
                  <c:v>22.914140304824151</c:v>
                </c:pt>
                <c:pt idx="736">
                  <c:v>23.158492486540059</c:v>
                </c:pt>
                <c:pt idx="737">
                  <c:v>23.086556129965444</c:v>
                </c:pt>
                <c:pt idx="738">
                  <c:v>22.779717676050684</c:v>
                </c:pt>
                <c:pt idx="739">
                  <c:v>22.654359413923341</c:v>
                </c:pt>
                <c:pt idx="740">
                  <c:v>22.54385128438647</c:v>
                </c:pt>
                <c:pt idx="741">
                  <c:v>22.533822623416285</c:v>
                </c:pt>
                <c:pt idx="742">
                  <c:v>22.462079125706484</c:v>
                </c:pt>
                <c:pt idx="743">
                  <c:v>22.579144456646933</c:v>
                </c:pt>
                <c:pt idx="744">
                  <c:v>22.519936785149866</c:v>
                </c:pt>
                <c:pt idx="745">
                  <c:v>22.510486700774116</c:v>
                </c:pt>
                <c:pt idx="746">
                  <c:v>22.379535531567246</c:v>
                </c:pt>
                <c:pt idx="747">
                  <c:v>22.393035652104036</c:v>
                </c:pt>
                <c:pt idx="748">
                  <c:v>22.258227305600943</c:v>
                </c:pt>
                <c:pt idx="749">
                  <c:v>22.20422682345378</c:v>
                </c:pt>
                <c:pt idx="750">
                  <c:v>21.94136019071599</c:v>
                </c:pt>
                <c:pt idx="751">
                  <c:v>21.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0073896"/>
        <c:axId val="840069584"/>
      </c:lineChart>
      <c:dateAx>
        <c:axId val="840073896"/>
        <c:scaling>
          <c:orientation val="minMax"/>
        </c:scaling>
        <c:delete val="0"/>
        <c:axPos val="b"/>
        <c:numFmt formatCode="dd\.mm\.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40069584"/>
        <c:crosses val="autoZero"/>
        <c:auto val="0"/>
        <c:lblOffset val="100"/>
        <c:baseTimeUnit val="days"/>
        <c:majorUnit val="3"/>
        <c:majorTimeUnit val="months"/>
      </c:dateAx>
      <c:valAx>
        <c:axId val="840069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.0_ ;_ * \-#,##0.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40073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711818431230251"/>
          <c:y val="7.8414515090409129E-3"/>
          <c:w val="0.29213779277900076"/>
          <c:h val="5.4740403705527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915228937316971E-2"/>
          <c:y val="7.6747366853067614E-2"/>
          <c:w val="0.91015503682693755"/>
          <c:h val="0.826585496539554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01.01.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Trinn 1</c:v>
                </c:pt>
                <c:pt idx="1">
                  <c:v>Trinn 2</c:v>
                </c:pt>
                <c:pt idx="2">
                  <c:v>Trinn 3</c:v>
                </c:pt>
              </c:strCache>
            </c:strRef>
          </c:cat>
          <c:val>
            <c:numRef>
              <c:f>'Ark1'!$B$2:$B$4</c:f>
              <c:numCache>
                <c:formatCode>_ * #,##0_ ;_ * \-#,##0_ ;_ * "-"??_ ;_ @_ </c:formatCode>
                <c:ptCount val="3"/>
                <c:pt idx="0">
                  <c:v>34.667000000000002</c:v>
                </c:pt>
                <c:pt idx="1">
                  <c:v>50.399000000000001</c:v>
                </c:pt>
                <c:pt idx="2">
                  <c:v>81.941999999999993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31.12.20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Trinn 1</c:v>
                </c:pt>
                <c:pt idx="1">
                  <c:v>Trinn 2</c:v>
                </c:pt>
                <c:pt idx="2">
                  <c:v>Trinn 3</c:v>
                </c:pt>
              </c:strCache>
            </c:strRef>
          </c:cat>
          <c:val>
            <c:numRef>
              <c:f>'Ark1'!$C$2:$C$4</c:f>
              <c:numCache>
                <c:formatCode>_ * #,##0_ ;_ * \-#,##0_ ;_ * "-"??_ ;_ @_ </c:formatCode>
                <c:ptCount val="3"/>
                <c:pt idx="0">
                  <c:v>35.262999999999998</c:v>
                </c:pt>
                <c:pt idx="1">
                  <c:v>37.201000000000001</c:v>
                </c:pt>
                <c:pt idx="2">
                  <c:v>91.935000000000002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30.09.2019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Trinn 1</c:v>
                </c:pt>
                <c:pt idx="1">
                  <c:v>Trinn 2</c:v>
                </c:pt>
                <c:pt idx="2">
                  <c:v>Trinn 3</c:v>
                </c:pt>
              </c:strCache>
            </c:strRef>
          </c:cat>
          <c:val>
            <c:numRef>
              <c:f>'Ark1'!$D$2:$D$4</c:f>
              <c:numCache>
                <c:formatCode>_ * #,##0_ ;_ * \-#,##0_ ;_ * "-"??_ ;_ @_ </c:formatCode>
                <c:ptCount val="3"/>
                <c:pt idx="0">
                  <c:v>36</c:v>
                </c:pt>
                <c:pt idx="1">
                  <c:v>41</c:v>
                </c:pt>
                <c:pt idx="2">
                  <c:v>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40078992"/>
        <c:axId val="840077424"/>
      </c:barChart>
      <c:catAx>
        <c:axId val="840078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40077424"/>
        <c:crosses val="autoZero"/>
        <c:auto val="1"/>
        <c:lblAlgn val="ctr"/>
        <c:lblOffset val="100"/>
        <c:noMultiLvlLbl val="0"/>
      </c:catAx>
      <c:valAx>
        <c:axId val="84007742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_ ;_ * \-#,##0_ ;_ * &quot;-&quot;??_ ;_ @_ " sourceLinked="1"/>
        <c:majorTickMark val="none"/>
        <c:minorTickMark val="none"/>
        <c:tickLblPos val="nextTo"/>
        <c:crossAx val="840078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380637524180461"/>
          <c:y val="1.1151952304540724E-2"/>
          <c:w val="0.42164092746754572"/>
          <c:h val="5.1824822321532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924367147894673E-2"/>
          <c:y val="0.10686862323166946"/>
          <c:w val="0.96215126570421061"/>
          <c:h val="0.80973208985398193"/>
        </c:manualLayout>
      </c:layou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pareBank 1 BV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3. kv. 17</c:v>
                </c:pt>
                <c:pt idx="1">
                  <c:v>4. kv. 17</c:v>
                </c:pt>
                <c:pt idx="2">
                  <c:v>1. kv. 18</c:v>
                </c:pt>
                <c:pt idx="3">
                  <c:v>2. kv. 18</c:v>
                </c:pt>
                <c:pt idx="4">
                  <c:v>3. kv. 18</c:v>
                </c:pt>
                <c:pt idx="5">
                  <c:v>4. kv. 18</c:v>
                </c:pt>
                <c:pt idx="6">
                  <c:v>1. kv. 19</c:v>
                </c:pt>
                <c:pt idx="7">
                  <c:v>2. kv. 19</c:v>
                </c:pt>
                <c:pt idx="8">
                  <c:v>3. kv. 19</c:v>
                </c:pt>
              </c:strCache>
            </c:strRef>
          </c:cat>
          <c:val>
            <c:numRef>
              <c:f>'Ark1'!$B$2:$B$10</c:f>
              <c:numCache>
                <c:formatCode>0.0\ %</c:formatCode>
                <c:ptCount val="9"/>
                <c:pt idx="0">
                  <c:v>6.8000000000000005E-2</c:v>
                </c:pt>
                <c:pt idx="1">
                  <c:v>8.7999999999999995E-2</c:v>
                </c:pt>
                <c:pt idx="2">
                  <c:v>0.1</c:v>
                </c:pt>
                <c:pt idx="3">
                  <c:v>0.105</c:v>
                </c:pt>
                <c:pt idx="4">
                  <c:v>0.10299999999999999</c:v>
                </c:pt>
                <c:pt idx="5">
                  <c:v>0.09</c:v>
                </c:pt>
                <c:pt idx="6">
                  <c:v>0.08</c:v>
                </c:pt>
                <c:pt idx="7">
                  <c:v>7.0999999999999994E-2</c:v>
                </c:pt>
                <c:pt idx="8">
                  <c:v>0.0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Norge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3. kv. 17</c:v>
                </c:pt>
                <c:pt idx="1">
                  <c:v>4. kv. 17</c:v>
                </c:pt>
                <c:pt idx="2">
                  <c:v>1. kv. 18</c:v>
                </c:pt>
                <c:pt idx="3">
                  <c:v>2. kv. 18</c:v>
                </c:pt>
                <c:pt idx="4">
                  <c:v>3. kv. 18</c:v>
                </c:pt>
                <c:pt idx="5">
                  <c:v>4. kv. 18</c:v>
                </c:pt>
                <c:pt idx="6">
                  <c:v>1. kv. 19</c:v>
                </c:pt>
                <c:pt idx="7">
                  <c:v>2. kv. 19</c:v>
                </c:pt>
                <c:pt idx="8">
                  <c:v>3. kv. 19</c:v>
                </c:pt>
              </c:strCache>
            </c:strRef>
          </c:cat>
          <c:val>
            <c:numRef>
              <c:f>'Ark1'!$C$2:$C$10</c:f>
              <c:numCache>
                <c:formatCode>0.0\ %</c:formatCode>
                <c:ptCount val="9"/>
                <c:pt idx="0">
                  <c:v>6.4000000000000001E-2</c:v>
                </c:pt>
                <c:pt idx="1">
                  <c:v>6.4000000000000001E-2</c:v>
                </c:pt>
                <c:pt idx="2">
                  <c:v>0.06</c:v>
                </c:pt>
                <c:pt idx="3">
                  <c:v>5.8999999999999997E-2</c:v>
                </c:pt>
                <c:pt idx="4">
                  <c:v>5.8000000000000003E-2</c:v>
                </c:pt>
                <c:pt idx="5">
                  <c:v>5.6000000000000001E-2</c:v>
                </c:pt>
                <c:pt idx="6">
                  <c:v>5.7000000000000002E-2</c:v>
                </c:pt>
                <c:pt idx="7">
                  <c:v>5.5E-2</c:v>
                </c:pt>
                <c:pt idx="8">
                  <c:v>5.0999999999999997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40077032"/>
        <c:axId val="840072328"/>
      </c:lineChart>
      <c:catAx>
        <c:axId val="840077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40072328"/>
        <c:crosses val="autoZero"/>
        <c:auto val="1"/>
        <c:lblAlgn val="ctr"/>
        <c:lblOffset val="100"/>
        <c:noMultiLvlLbl val="0"/>
      </c:catAx>
      <c:valAx>
        <c:axId val="84007232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\ %" sourceLinked="1"/>
        <c:majorTickMark val="none"/>
        <c:minorTickMark val="none"/>
        <c:tickLblPos val="nextTo"/>
        <c:crossAx val="840077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394165849252311"/>
          <c:y val="1.7540213959726804E-2"/>
          <c:w val="0.32330838577044729"/>
          <c:h val="5.5278069585299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Årlig fundingforf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11</c:f>
              <c:numCache>
                <c:formatCode>General</c:formatCode>
                <c:ptCount val="10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</c:numCache>
            </c:numRef>
          </c:cat>
          <c:val>
            <c:numRef>
              <c:f>'Ark1'!$B$2:$B$11</c:f>
              <c:numCache>
                <c:formatCode>#,##0</c:formatCode>
                <c:ptCount val="10"/>
                <c:pt idx="0">
                  <c:v>66</c:v>
                </c:pt>
                <c:pt idx="1">
                  <c:v>1476</c:v>
                </c:pt>
                <c:pt idx="2">
                  <c:v>2000</c:v>
                </c:pt>
                <c:pt idx="3">
                  <c:v>1750</c:v>
                </c:pt>
                <c:pt idx="4">
                  <c:v>1300</c:v>
                </c:pt>
                <c:pt idx="5">
                  <c:v>1050</c:v>
                </c:pt>
                <c:pt idx="6">
                  <c:v>350</c:v>
                </c:pt>
                <c:pt idx="8">
                  <c:v>8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40071544"/>
        <c:axId val="840075072"/>
      </c:barChart>
      <c:catAx>
        <c:axId val="840071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40075072"/>
        <c:crosses val="autoZero"/>
        <c:auto val="1"/>
        <c:lblAlgn val="ctr"/>
        <c:lblOffset val="100"/>
        <c:noMultiLvlLbl val="0"/>
      </c:catAx>
      <c:valAx>
        <c:axId val="84007507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840071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Resultat pr EK-bevis(morbank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B$2:$B$6</c:f>
              <c:numCache>
                <c:formatCode>_ * #,##0.00_ ;_ * \-#,##0.00_ ;_ * "-"??_ ;_ @_ </c:formatCode>
                <c:ptCount val="5"/>
                <c:pt idx="0">
                  <c:v>0.99</c:v>
                </c:pt>
                <c:pt idx="1">
                  <c:v>0.7336368200357164</c:v>
                </c:pt>
                <c:pt idx="2">
                  <c:v>0.87</c:v>
                </c:pt>
                <c:pt idx="3">
                  <c:v>1.76</c:v>
                </c:pt>
                <c:pt idx="4">
                  <c:v>0.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1061480"/>
        <c:axId val="831060304"/>
      </c:barChart>
      <c:catAx>
        <c:axId val="831061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60304"/>
        <c:crosses val="autoZero"/>
        <c:auto val="1"/>
        <c:lblAlgn val="ctr"/>
        <c:lblOffset val="100"/>
        <c:noMultiLvlLbl val="0"/>
      </c:catAx>
      <c:valAx>
        <c:axId val="83106030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Kroner</a:t>
                </a:r>
                <a:endParaRPr lang="nb-NO" dirty="0"/>
              </a:p>
            </c:rich>
          </c:tx>
          <c:layout>
            <c:manualLayout>
              <c:xMode val="edge"/>
              <c:yMode val="edge"/>
              <c:x val="1.0644768431584174E-2"/>
              <c:y val="0.4153050229300260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 * #,##0.00_ ;_ * \-#,##0.00_ ;_ * &quot;-&quot;??_ ;_ @_ " sourceLinked="1"/>
        <c:majorTickMark val="none"/>
        <c:minorTickMark val="none"/>
        <c:tickLblPos val="nextTo"/>
        <c:crossAx val="831061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58538385826774E-2"/>
          <c:y val="4.6957120635019653E-2"/>
          <c:w val="0.93635396161417328"/>
          <c:h val="0.731327464854363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Netto renteinntekt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B$2:$B$6</c:f>
              <c:numCache>
                <c:formatCode>#,##0</c:formatCode>
                <c:ptCount val="5"/>
                <c:pt idx="0">
                  <c:v>150.51</c:v>
                </c:pt>
                <c:pt idx="1">
                  <c:v>155.90299999999999</c:v>
                </c:pt>
                <c:pt idx="2">
                  <c:v>145.28299999999999</c:v>
                </c:pt>
                <c:pt idx="3">
                  <c:v>151.74</c:v>
                </c:pt>
                <c:pt idx="4">
                  <c:v>172.15600000000001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Provisjonsinntekter SB1 Boligkreditt/Næringskredit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C$2:$C$6</c:f>
              <c:numCache>
                <c:formatCode>#,##0</c:formatCode>
                <c:ptCount val="5"/>
                <c:pt idx="0">
                  <c:v>21.295000000000002</c:v>
                </c:pt>
                <c:pt idx="1">
                  <c:v>24.001189</c:v>
                </c:pt>
                <c:pt idx="2">
                  <c:v>23.105999999999998</c:v>
                </c:pt>
                <c:pt idx="3">
                  <c:v>24.495999999999999</c:v>
                </c:pt>
                <c:pt idx="4">
                  <c:v>26.662877000000002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Netto provisjons- og andre inntekt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D$2:$D$6</c:f>
              <c:numCache>
                <c:formatCode>#,##0</c:formatCode>
                <c:ptCount val="5"/>
                <c:pt idx="0">
                  <c:v>81.620999999999995</c:v>
                </c:pt>
                <c:pt idx="1">
                  <c:v>79.346811000000002</c:v>
                </c:pt>
                <c:pt idx="2">
                  <c:v>76.159000000000006</c:v>
                </c:pt>
                <c:pt idx="3">
                  <c:v>88.938000000000002</c:v>
                </c:pt>
                <c:pt idx="4">
                  <c:v>83.166122999999999</c:v>
                </c:pt>
              </c:numCache>
            </c:numRef>
          </c:val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Netto resultat fra finansielle eiendel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0"/>
                  <c:y val="-2.343749855822474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E$2:$E$6</c:f>
              <c:numCache>
                <c:formatCode>#,##0</c:formatCode>
                <c:ptCount val="5"/>
                <c:pt idx="0">
                  <c:v>28.931999999999999</c:v>
                </c:pt>
                <c:pt idx="1">
                  <c:v>-10.388</c:v>
                </c:pt>
                <c:pt idx="2">
                  <c:v>38.98899999999999</c:v>
                </c:pt>
                <c:pt idx="3">
                  <c:v>24.515999999999998</c:v>
                </c:pt>
                <c:pt idx="4">
                  <c:v>2.6059999999999999</c:v>
                </c:pt>
              </c:numCache>
            </c:numRef>
          </c:val>
        </c:ser>
        <c:ser>
          <c:idx val="4"/>
          <c:order val="4"/>
          <c:tx>
            <c:strRef>
              <c:f>'Ark1'!$F$1</c:f>
              <c:strCache>
                <c:ptCount val="1"/>
                <c:pt idx="0">
                  <c:v>Fusjon forsikring (Fremtind)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F$2:$F$6</c:f>
              <c:numCache>
                <c:formatCode>General</c:formatCode>
                <c:ptCount val="5"/>
                <c:pt idx="2" formatCode="#,##0">
                  <c:v>71.900000000000006</c:v>
                </c:pt>
              </c:numCache>
            </c:numRef>
          </c:val>
        </c:ser>
        <c:ser>
          <c:idx val="5"/>
          <c:order val="5"/>
          <c:tx>
            <c:strRef>
              <c:f>'Ark1'!$G$1</c:f>
              <c:strCache>
                <c:ptCount val="1"/>
                <c:pt idx="0">
                  <c:v>Oppskr. eiend. SB1 Forsikring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G$2:$G$6</c:f>
              <c:numCache>
                <c:formatCode>General</c:formatCode>
                <c:ptCount val="5"/>
                <c:pt idx="3" formatCode="#,##0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31057168"/>
        <c:axId val="831060696"/>
      </c:barChart>
      <c:catAx>
        <c:axId val="831057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60696"/>
        <c:crosses val="autoZero"/>
        <c:auto val="1"/>
        <c:lblAlgn val="ctr"/>
        <c:lblOffset val="100"/>
        <c:noMultiLvlLbl val="0"/>
      </c:catAx>
      <c:valAx>
        <c:axId val="8310606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 smtClean="0"/>
                  <a:t>Mill kr</a:t>
                </a:r>
                <a:endParaRPr lang="nb-NO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#,##0" sourceLinked="1"/>
        <c:majorTickMark val="none"/>
        <c:minorTickMark val="none"/>
        <c:tickLblPos val="nextTo"/>
        <c:crossAx val="831057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103313847529368E-2"/>
          <c:y val="0.15679508148297486"/>
          <c:w val="0.94476701302336485"/>
          <c:h val="0.78101370464027631"/>
        </c:manualLayout>
      </c:layou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Rentenetto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B$2:$B$6</c:f>
              <c:numCache>
                <c:formatCode>0.00%</c:formatCode>
                <c:ptCount val="5"/>
                <c:pt idx="0">
                  <c:v>1.6504475765107385E-2</c:v>
                </c:pt>
                <c:pt idx="1">
                  <c:v>1.694323902652722E-2</c:v>
                </c:pt>
                <c:pt idx="2">
                  <c:v>1.5900000000000001E-2</c:v>
                </c:pt>
                <c:pt idx="3">
                  <c:v>1.61E-2</c:v>
                </c:pt>
                <c:pt idx="4">
                  <c:v>1.7600000000000001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Rentenetto inkl kredittforetak</c:v>
                </c:pt>
              </c:strCache>
            </c:strRef>
          </c:tx>
          <c:spPr>
            <a:ln w="5715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3. kv. 18</c:v>
                </c:pt>
                <c:pt idx="1">
                  <c:v>4. kv. 18</c:v>
                </c:pt>
                <c:pt idx="2">
                  <c:v>1. kv. 19</c:v>
                </c:pt>
                <c:pt idx="3">
                  <c:v>2. kv. 19</c:v>
                </c:pt>
                <c:pt idx="4">
                  <c:v>3. kv. 19</c:v>
                </c:pt>
              </c:strCache>
            </c:strRef>
          </c:cat>
          <c:val>
            <c:numRef>
              <c:f>'Ark1'!$C$2:$C$6</c:f>
              <c:numCache>
                <c:formatCode>0.00%</c:formatCode>
                <c:ptCount val="5"/>
                <c:pt idx="0">
                  <c:v>1.4229529028227645E-2</c:v>
                </c:pt>
                <c:pt idx="1">
                  <c:v>1.4687963687837436E-2</c:v>
                </c:pt>
                <c:pt idx="2">
                  <c:v>1.38E-2</c:v>
                </c:pt>
                <c:pt idx="3">
                  <c:v>1.41E-2</c:v>
                </c:pt>
                <c:pt idx="4">
                  <c:v>1.529999999999999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055208"/>
        <c:axId val="831059128"/>
      </c:lineChart>
      <c:catAx>
        <c:axId val="831055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59128"/>
        <c:crosses val="autoZero"/>
        <c:auto val="1"/>
        <c:lblAlgn val="ctr"/>
        <c:lblOffset val="100"/>
        <c:noMultiLvlLbl val="0"/>
      </c:catAx>
      <c:valAx>
        <c:axId val="831059128"/>
        <c:scaling>
          <c:orientation val="minMax"/>
          <c:min val="1.2000000000000002E-2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out"/>
        <c:minorTickMark val="none"/>
        <c:tickLblPos val="nextTo"/>
        <c:crossAx val="831055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450257123231842"/>
          <c:y val="2.0272522925413757E-2"/>
          <c:w val="0.54348889894770491"/>
          <c:h val="5.63074684567706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97116405432042E-2"/>
          <c:y val="0.13601961515627367"/>
          <c:w val="0.94521537922430476"/>
          <c:h val="0.73467404437290562"/>
        </c:manualLayout>
      </c:layou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M - Gj.sn.  3 mnd NIBOR – innskuddsavk</c:v>
                </c:pt>
              </c:strCache>
            </c:strRef>
          </c:tx>
          <c:spPr>
            <a:ln w="5715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3. kv. 17</c:v>
                </c:pt>
                <c:pt idx="1">
                  <c:v>4. kv. 17</c:v>
                </c:pt>
                <c:pt idx="2">
                  <c:v>1. kv. 18</c:v>
                </c:pt>
                <c:pt idx="3">
                  <c:v>2. kv. 18</c:v>
                </c:pt>
                <c:pt idx="4">
                  <c:v>3. kv. 18</c:v>
                </c:pt>
                <c:pt idx="5">
                  <c:v>4. kv. 18</c:v>
                </c:pt>
                <c:pt idx="6">
                  <c:v>1. kv. 19</c:v>
                </c:pt>
                <c:pt idx="7">
                  <c:v>2. kv. 19</c:v>
                </c:pt>
                <c:pt idx="8">
                  <c:v>3. kv. 19</c:v>
                </c:pt>
              </c:strCache>
            </c:strRef>
          </c:cat>
          <c:val>
            <c:numRef>
              <c:f>'Ark1'!$B$2:$B$10</c:f>
              <c:numCache>
                <c:formatCode>0.00%</c:formatCode>
                <c:ptCount val="9"/>
                <c:pt idx="0">
                  <c:v>1.1999999999999997E-3</c:v>
                </c:pt>
                <c:pt idx="1">
                  <c:v>1.3000000000000008E-3</c:v>
                </c:pt>
                <c:pt idx="2">
                  <c:v>2.4999999999999996E-3</c:v>
                </c:pt>
                <c:pt idx="3">
                  <c:v>3.7999999999999996E-3</c:v>
                </c:pt>
                <c:pt idx="4">
                  <c:v>3.8000000000000004E-3</c:v>
                </c:pt>
                <c:pt idx="5">
                  <c:v>3.6000000000000008E-3</c:v>
                </c:pt>
                <c:pt idx="6">
                  <c:v>2.5999999999999999E-3</c:v>
                </c:pt>
                <c:pt idx="7">
                  <c:v>3.8E-3</c:v>
                </c:pt>
                <c:pt idx="8">
                  <c:v>5.5999999999999999E-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BM - Gj.sn.  3 mnd NIBOR – innskuddsavk</c:v>
                </c:pt>
              </c:strCache>
            </c:strRef>
          </c:tx>
          <c:spPr>
            <a:ln w="57150" cap="rnd">
              <a:solidFill>
                <a:schemeClr val="accent2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layout>
                <c:manualLayout>
                  <c:x val="-3.6960606297521244E-2"/>
                  <c:y val="-7.673283279090000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3. kv. 17</c:v>
                </c:pt>
                <c:pt idx="1">
                  <c:v>4. kv. 17</c:v>
                </c:pt>
                <c:pt idx="2">
                  <c:v>1. kv. 18</c:v>
                </c:pt>
                <c:pt idx="3">
                  <c:v>2. kv. 18</c:v>
                </c:pt>
                <c:pt idx="4">
                  <c:v>3. kv. 18</c:v>
                </c:pt>
                <c:pt idx="5">
                  <c:v>4. kv. 18</c:v>
                </c:pt>
                <c:pt idx="6">
                  <c:v>1. kv. 19</c:v>
                </c:pt>
                <c:pt idx="7">
                  <c:v>2. kv. 19</c:v>
                </c:pt>
                <c:pt idx="8">
                  <c:v>3. kv. 19</c:v>
                </c:pt>
              </c:strCache>
            </c:strRef>
          </c:cat>
          <c:val>
            <c:numRef>
              <c:f>'Ark1'!$C$2:$C$10</c:f>
              <c:numCache>
                <c:formatCode>0.00%</c:formatCode>
                <c:ptCount val="9"/>
                <c:pt idx="0">
                  <c:v>3.9999999999999931E-4</c:v>
                </c:pt>
                <c:pt idx="1">
                  <c:v>6.0000000000000071E-4</c:v>
                </c:pt>
                <c:pt idx="2">
                  <c:v>2E-3</c:v>
                </c:pt>
                <c:pt idx="3">
                  <c:v>2.7999999999999987E-3</c:v>
                </c:pt>
                <c:pt idx="4">
                  <c:v>3.0000000000000001E-3</c:v>
                </c:pt>
                <c:pt idx="5">
                  <c:v>3.8000000000000013E-3</c:v>
                </c:pt>
                <c:pt idx="6">
                  <c:v>4.1999999999999997E-3</c:v>
                </c:pt>
                <c:pt idx="7">
                  <c:v>4.4999999999999997E-3</c:v>
                </c:pt>
                <c:pt idx="8">
                  <c:v>5.7999999999999996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055600"/>
        <c:axId val="831062656"/>
      </c:lineChart>
      <c:catAx>
        <c:axId val="831055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62656"/>
        <c:crosses val="autoZero"/>
        <c:auto val="1"/>
        <c:lblAlgn val="ctr"/>
        <c:lblOffset val="100"/>
        <c:noMultiLvlLbl val="0"/>
      </c:catAx>
      <c:valAx>
        <c:axId val="83106265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831055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4220887787090503E-2"/>
          <c:y val="3.328775013695099E-2"/>
          <c:w val="0.89999998668110248"/>
          <c:h val="5.23418618889569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97116405432042E-2"/>
          <c:y val="0.13601961515627367"/>
          <c:w val="0.94521537922430476"/>
          <c:h val="0.73467404437290562"/>
        </c:manualLayout>
      </c:layou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M - Utlånsavkastning – gj.sn. 3 mnd NIBOR</c:v>
                </c:pt>
              </c:strCache>
            </c:strRef>
          </c:tx>
          <c:spPr>
            <a:ln w="5715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3. kv. 17</c:v>
                </c:pt>
                <c:pt idx="1">
                  <c:v>4. kv. 17</c:v>
                </c:pt>
                <c:pt idx="2">
                  <c:v>1. kv. 18</c:v>
                </c:pt>
                <c:pt idx="3">
                  <c:v>2. kv. 18</c:v>
                </c:pt>
                <c:pt idx="4">
                  <c:v>3. kv. 18</c:v>
                </c:pt>
                <c:pt idx="5">
                  <c:v>4. kv. 18</c:v>
                </c:pt>
                <c:pt idx="6">
                  <c:v>1. kv. 19</c:v>
                </c:pt>
                <c:pt idx="7">
                  <c:v>2. kv. 19</c:v>
                </c:pt>
                <c:pt idx="8">
                  <c:v>3. kv. 19</c:v>
                </c:pt>
              </c:strCache>
            </c:strRef>
          </c:cat>
          <c:val>
            <c:numRef>
              <c:f>'Ark1'!$B$2:$B$10</c:f>
              <c:numCache>
                <c:formatCode>0.00%</c:formatCode>
                <c:ptCount val="9"/>
                <c:pt idx="0">
                  <c:v>2.07E-2</c:v>
                </c:pt>
                <c:pt idx="1">
                  <c:v>2.0200000000000003E-2</c:v>
                </c:pt>
                <c:pt idx="2">
                  <c:v>1.8599999999999998E-2</c:v>
                </c:pt>
                <c:pt idx="3">
                  <c:v>1.7500000000000002E-2</c:v>
                </c:pt>
                <c:pt idx="4">
                  <c:v>1.7300000000000003E-2</c:v>
                </c:pt>
                <c:pt idx="5">
                  <c:v>1.6799999999999999E-2</c:v>
                </c:pt>
                <c:pt idx="6">
                  <c:v>1.6299999999999999E-2</c:v>
                </c:pt>
                <c:pt idx="7">
                  <c:v>1.5599999999999999E-2</c:v>
                </c:pt>
                <c:pt idx="8">
                  <c:v>1.5800000000000002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BM - Utlånsavkastning – gj.sn. 3 mnd NIBOR</c:v>
                </c:pt>
              </c:strCache>
            </c:strRef>
          </c:tx>
          <c:spPr>
            <a:ln w="57150" cap="rnd">
              <a:solidFill>
                <a:schemeClr val="accent2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layout>
                <c:manualLayout>
                  <c:x val="-3.6960606297521244E-2"/>
                  <c:y val="-7.673283279090000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0</c:f>
              <c:strCache>
                <c:ptCount val="9"/>
                <c:pt idx="0">
                  <c:v>3. kv. 17</c:v>
                </c:pt>
                <c:pt idx="1">
                  <c:v>4. kv. 17</c:v>
                </c:pt>
                <c:pt idx="2">
                  <c:v>1. kv. 18</c:v>
                </c:pt>
                <c:pt idx="3">
                  <c:v>2. kv. 18</c:v>
                </c:pt>
                <c:pt idx="4">
                  <c:v>3. kv. 18</c:v>
                </c:pt>
                <c:pt idx="5">
                  <c:v>4. kv. 18</c:v>
                </c:pt>
                <c:pt idx="6">
                  <c:v>1. kv. 19</c:v>
                </c:pt>
                <c:pt idx="7">
                  <c:v>2. kv. 19</c:v>
                </c:pt>
                <c:pt idx="8">
                  <c:v>3. kv. 19</c:v>
                </c:pt>
              </c:strCache>
            </c:strRef>
          </c:cat>
          <c:val>
            <c:numRef>
              <c:f>'Ark1'!$C$2:$C$10</c:f>
              <c:numCache>
                <c:formatCode>0.00%</c:formatCode>
                <c:ptCount val="9"/>
                <c:pt idx="0">
                  <c:v>2.87E-2</c:v>
                </c:pt>
                <c:pt idx="1">
                  <c:v>2.81E-2</c:v>
                </c:pt>
                <c:pt idx="2">
                  <c:v>2.7200000000000002E-2</c:v>
                </c:pt>
                <c:pt idx="3">
                  <c:v>2.6999999999999996E-2</c:v>
                </c:pt>
                <c:pt idx="4">
                  <c:v>2.6800000000000004E-2</c:v>
                </c:pt>
                <c:pt idx="5">
                  <c:v>2.7999999999999997E-2</c:v>
                </c:pt>
                <c:pt idx="6">
                  <c:v>2.64E-2</c:v>
                </c:pt>
                <c:pt idx="7">
                  <c:v>2.6599999999999999E-2</c:v>
                </c:pt>
                <c:pt idx="8">
                  <c:v>2.58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063832"/>
        <c:axId val="831057952"/>
      </c:lineChart>
      <c:catAx>
        <c:axId val="83106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057952"/>
        <c:crosses val="autoZero"/>
        <c:auto val="1"/>
        <c:lblAlgn val="ctr"/>
        <c:lblOffset val="100"/>
        <c:noMultiLvlLbl val="0"/>
      </c:catAx>
      <c:valAx>
        <c:axId val="8310579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831063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4220887787090503E-2"/>
          <c:y val="3.328775013695099E-2"/>
          <c:w val="0.89999998668110248"/>
          <c:h val="5.23418618889569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17502737936208"/>
          <c:y val="0"/>
          <c:w val="0.70964994524127578"/>
          <c:h val="0.78351275430995859"/>
        </c:manualLayout>
      </c:layout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7.4906914887342371E-2"/>
                  <c:y val="-0.1044870440567114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284688743484278"/>
                      <c:h val="0.12230898515619579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3.1460904252683795E-2"/>
                  <c:y val="2.957180492171078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049853324003196"/>
                      <c:h val="9.3224765742406762E-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12434547871298833"/>
                  <c:y val="9.660122941092189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990912080751309"/>
                      <c:h val="9.3224765742406762E-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7.0412499994101818E-2"/>
                  <c:y val="3.94290732289477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580466541499377"/>
                      <c:h val="9.3224765742406762E-2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1.1985224345620269E-2"/>
                  <c:y val="0.10251559039526396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034587412712798"/>
                      <c:h val="9.3224765742406762E-2"/>
                    </c:manualLayout>
                  </c15:layout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'Ark1'!$A$2:$A$7</c:f>
              <c:strCache>
                <c:ptCount val="6"/>
                <c:pt idx="0">
                  <c:v>Betalingsformidling m.m.</c:v>
                </c:pt>
                <c:pt idx="1">
                  <c:v>Forsikring/pensjon</c:v>
                </c:pt>
                <c:pt idx="2">
                  <c:v>Sparing/plassering</c:v>
                </c:pt>
                <c:pt idx="3">
                  <c:v>Garantiprovisjon</c:v>
                </c:pt>
                <c:pt idx="4">
                  <c:v>Eiendomsmegler</c:v>
                </c:pt>
                <c:pt idx="5">
                  <c:v>Regnskapshuset</c:v>
                </c:pt>
              </c:strCache>
            </c:strRef>
          </c:cat>
          <c:val>
            <c:numRef>
              <c:f>'Ark1'!$B$2:$B$7</c:f>
              <c:numCache>
                <c:formatCode>0%</c:formatCode>
                <c:ptCount val="6"/>
                <c:pt idx="0">
                  <c:v>0.32</c:v>
                </c:pt>
                <c:pt idx="1">
                  <c:v>0.16</c:v>
                </c:pt>
                <c:pt idx="2">
                  <c:v>0.04</c:v>
                </c:pt>
                <c:pt idx="3">
                  <c:v>0.02</c:v>
                </c:pt>
                <c:pt idx="4">
                  <c:v>0.34</c:v>
                </c:pt>
                <c:pt idx="5">
                  <c:v>0.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6321</cdr:x>
      <cdr:y>0.11458</cdr:y>
    </cdr:from>
    <cdr:to>
      <cdr:x>0.95037</cdr:x>
      <cdr:y>0.17023</cdr:y>
    </cdr:to>
    <cdr:sp macro="" textlink="">
      <cdr:nvSpPr>
        <cdr:cNvPr id="2" name="TekstSylinder 20"/>
        <cdr:cNvSpPr txBox="1"/>
      </cdr:nvSpPr>
      <cdr:spPr>
        <a:xfrm xmlns:a="http://schemas.openxmlformats.org/drawingml/2006/main">
          <a:off x="6144577" y="570290"/>
          <a:ext cx="620433" cy="27697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/>
            <a:t>15,5 %</a:t>
          </a:r>
          <a:endParaRPr lang="nb-NO" sz="12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4661</cdr:x>
      <cdr:y>0.10144</cdr:y>
    </cdr:from>
    <cdr:to>
      <cdr:x>0.96447</cdr:x>
      <cdr:y>0.14965</cdr:y>
    </cdr:to>
    <cdr:sp macro="" textlink="">
      <cdr:nvSpPr>
        <cdr:cNvPr id="2" name="TekstSylinder 1"/>
        <cdr:cNvSpPr txBox="1"/>
      </cdr:nvSpPr>
      <cdr:spPr>
        <a:xfrm xmlns:a="http://schemas.openxmlformats.org/drawingml/2006/main">
          <a:off x="3413854" y="549666"/>
          <a:ext cx="3958506" cy="2612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r>
            <a:rPr lang="nb-NO" sz="1100" b="1" dirty="0" smtClean="0">
              <a:solidFill>
                <a:schemeClr val="accent5"/>
              </a:solidFill>
            </a:rPr>
            <a:t>12 </a:t>
          </a:r>
          <a:r>
            <a:rPr lang="nb-NO" sz="1100" b="1" dirty="0" err="1" smtClean="0">
              <a:solidFill>
                <a:schemeClr val="accent5"/>
              </a:solidFill>
            </a:rPr>
            <a:t>mnd</a:t>
          </a:r>
          <a:r>
            <a:rPr lang="nb-NO" sz="1100" b="1" dirty="0" smtClean="0">
              <a:solidFill>
                <a:schemeClr val="accent5"/>
              </a:solidFill>
            </a:rPr>
            <a:t> vekst i %</a:t>
          </a:r>
          <a:endParaRPr lang="nb-NO" sz="1100" b="1" dirty="0">
            <a:solidFill>
              <a:schemeClr val="accent5"/>
            </a:solidFill>
          </a:endParaRPr>
        </a:p>
      </cdr:txBody>
    </cdr:sp>
  </cdr:relSizeAnchor>
  <cdr:relSizeAnchor xmlns:cdr="http://schemas.openxmlformats.org/drawingml/2006/chartDrawing">
    <cdr:from>
      <cdr:x>0.55742</cdr:x>
      <cdr:y>0.39175</cdr:y>
    </cdr:from>
    <cdr:to>
      <cdr:x>0.63859</cdr:x>
      <cdr:y>0.44287</cdr:y>
    </cdr:to>
    <cdr:sp macro="" textlink="">
      <cdr:nvSpPr>
        <cdr:cNvPr id="3" name="TekstSylinder 14"/>
        <cdr:cNvSpPr txBox="1"/>
      </cdr:nvSpPr>
      <cdr:spPr>
        <a:xfrm xmlns:a="http://schemas.openxmlformats.org/drawingml/2006/main">
          <a:off x="4260886" y="2122782"/>
          <a:ext cx="620460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/>
            <a:t>8</a:t>
          </a:r>
          <a:r>
            <a:rPr lang="nb-NO" sz="1200" b="1" dirty="0" smtClean="0"/>
            <a:t>,0 %</a:t>
          </a:r>
          <a:endParaRPr lang="nb-NO" sz="1200" b="1" dirty="0"/>
        </a:p>
      </cdr:txBody>
    </cdr:sp>
  </cdr:relSizeAnchor>
  <cdr:relSizeAnchor xmlns:cdr="http://schemas.openxmlformats.org/drawingml/2006/chartDrawing">
    <cdr:from>
      <cdr:x>0.39762</cdr:x>
      <cdr:y>0.39361</cdr:y>
    </cdr:from>
    <cdr:to>
      <cdr:x>0.47879</cdr:x>
      <cdr:y>0.44473</cdr:y>
    </cdr:to>
    <cdr:sp macro="" textlink="">
      <cdr:nvSpPr>
        <cdr:cNvPr id="4" name="TekstSylinder 14"/>
        <cdr:cNvSpPr txBox="1"/>
      </cdr:nvSpPr>
      <cdr:spPr>
        <a:xfrm xmlns:a="http://schemas.openxmlformats.org/drawingml/2006/main">
          <a:off x="3039407" y="2132823"/>
          <a:ext cx="620461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/>
            <a:t>9</a:t>
          </a:r>
          <a:r>
            <a:rPr lang="nb-NO" sz="1200" b="1" dirty="0" smtClean="0"/>
            <a:t>,0 %</a:t>
          </a:r>
          <a:endParaRPr lang="nb-NO" sz="1200" b="1" dirty="0"/>
        </a:p>
      </cdr:txBody>
    </cdr:sp>
  </cdr:relSizeAnchor>
  <cdr:relSizeAnchor xmlns:cdr="http://schemas.openxmlformats.org/drawingml/2006/chartDrawing">
    <cdr:from>
      <cdr:x>0.23972</cdr:x>
      <cdr:y>0.44888</cdr:y>
    </cdr:from>
    <cdr:to>
      <cdr:x>0.32089</cdr:x>
      <cdr:y>0.5</cdr:y>
    </cdr:to>
    <cdr:sp macro="" textlink="">
      <cdr:nvSpPr>
        <cdr:cNvPr id="5" name="TekstSylinder 14"/>
        <cdr:cNvSpPr txBox="1"/>
      </cdr:nvSpPr>
      <cdr:spPr>
        <a:xfrm xmlns:a="http://schemas.openxmlformats.org/drawingml/2006/main">
          <a:off x="1832396" y="2432330"/>
          <a:ext cx="620460" cy="277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/>
            <a:t>8,8 %</a:t>
          </a:r>
          <a:endParaRPr lang="nb-NO" sz="1200" b="1" dirty="0"/>
        </a:p>
      </cdr:txBody>
    </cdr:sp>
  </cdr:relSizeAnchor>
  <cdr:relSizeAnchor xmlns:cdr="http://schemas.openxmlformats.org/drawingml/2006/chartDrawing">
    <cdr:from>
      <cdr:x>0.54909</cdr:x>
      <cdr:y>0.27394</cdr:y>
    </cdr:from>
    <cdr:to>
      <cdr:x>0.63026</cdr:x>
      <cdr:y>0.32505</cdr:y>
    </cdr:to>
    <cdr:sp macro="" textlink="">
      <cdr:nvSpPr>
        <cdr:cNvPr id="7" name="TekstSylinder 14"/>
        <cdr:cNvSpPr txBox="1"/>
      </cdr:nvSpPr>
      <cdr:spPr>
        <a:xfrm xmlns:a="http://schemas.openxmlformats.org/drawingml/2006/main">
          <a:off x="4197214" y="1484382"/>
          <a:ext cx="620460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/>
            <a:t>-1,4 %</a:t>
          </a:r>
          <a:endParaRPr lang="nb-NO" sz="1200" b="1" dirty="0"/>
        </a:p>
      </cdr:txBody>
    </cdr:sp>
  </cdr:relSizeAnchor>
  <cdr:relSizeAnchor xmlns:cdr="http://schemas.openxmlformats.org/drawingml/2006/chartDrawing">
    <cdr:from>
      <cdr:x>0.39705</cdr:x>
      <cdr:y>0.27574</cdr:y>
    </cdr:from>
    <cdr:to>
      <cdr:x>0.47822</cdr:x>
      <cdr:y>0.32686</cdr:y>
    </cdr:to>
    <cdr:sp macro="" textlink="">
      <cdr:nvSpPr>
        <cdr:cNvPr id="8" name="TekstSylinder 14"/>
        <cdr:cNvSpPr txBox="1"/>
      </cdr:nvSpPr>
      <cdr:spPr>
        <a:xfrm xmlns:a="http://schemas.openxmlformats.org/drawingml/2006/main">
          <a:off x="3035050" y="1494128"/>
          <a:ext cx="620460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/>
            <a:t>4,8 %</a:t>
          </a:r>
          <a:endParaRPr lang="nb-NO" sz="1200" b="1" dirty="0"/>
        </a:p>
      </cdr:txBody>
    </cdr:sp>
  </cdr:relSizeAnchor>
  <cdr:relSizeAnchor xmlns:cdr="http://schemas.openxmlformats.org/drawingml/2006/chartDrawing">
    <cdr:from>
      <cdr:x>0.23972</cdr:x>
      <cdr:y>0.3227</cdr:y>
    </cdr:from>
    <cdr:to>
      <cdr:x>0.32089</cdr:x>
      <cdr:y>0.37382</cdr:y>
    </cdr:to>
    <cdr:sp macro="" textlink="">
      <cdr:nvSpPr>
        <cdr:cNvPr id="9" name="TekstSylinder 14"/>
        <cdr:cNvSpPr txBox="1"/>
      </cdr:nvSpPr>
      <cdr:spPr>
        <a:xfrm xmlns:a="http://schemas.openxmlformats.org/drawingml/2006/main">
          <a:off x="1832396" y="1748589"/>
          <a:ext cx="620460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/>
            <a:t>-0,6 %</a:t>
          </a:r>
          <a:endParaRPr lang="nb-NO" sz="1200" b="1" dirty="0"/>
        </a:p>
      </cdr:txBody>
    </cdr:sp>
  </cdr:relSizeAnchor>
  <cdr:relSizeAnchor xmlns:cdr="http://schemas.openxmlformats.org/drawingml/2006/chartDrawing">
    <cdr:from>
      <cdr:x>0.71074</cdr:x>
      <cdr:y>0.3805</cdr:y>
    </cdr:from>
    <cdr:to>
      <cdr:x>0.79191</cdr:x>
      <cdr:y>0.43162</cdr:y>
    </cdr:to>
    <cdr:sp macro="" textlink="">
      <cdr:nvSpPr>
        <cdr:cNvPr id="10" name="TekstSylinder 14"/>
        <cdr:cNvSpPr txBox="1"/>
      </cdr:nvSpPr>
      <cdr:spPr>
        <a:xfrm xmlns:a="http://schemas.openxmlformats.org/drawingml/2006/main">
          <a:off x="5432854" y="2061803"/>
          <a:ext cx="620461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/>
            <a:t>7,1 %</a:t>
          </a:r>
          <a:endParaRPr lang="nb-NO" sz="1200" b="1" dirty="0"/>
        </a:p>
      </cdr:txBody>
    </cdr:sp>
  </cdr:relSizeAnchor>
  <cdr:relSizeAnchor xmlns:cdr="http://schemas.openxmlformats.org/drawingml/2006/chartDrawing">
    <cdr:from>
      <cdr:x>0.70732</cdr:x>
      <cdr:y>0.26131</cdr:y>
    </cdr:from>
    <cdr:to>
      <cdr:x>0.78849</cdr:x>
      <cdr:y>0.31243</cdr:y>
    </cdr:to>
    <cdr:sp macro="" textlink="">
      <cdr:nvSpPr>
        <cdr:cNvPr id="11" name="TekstSylinder 14"/>
        <cdr:cNvSpPr txBox="1"/>
      </cdr:nvSpPr>
      <cdr:spPr>
        <a:xfrm xmlns:a="http://schemas.openxmlformats.org/drawingml/2006/main">
          <a:off x="5406729" y="1415944"/>
          <a:ext cx="620461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/>
            <a:t>-3,2 %</a:t>
          </a:r>
          <a:endParaRPr lang="nb-NO" sz="1200" b="1" dirty="0"/>
        </a:p>
      </cdr:txBody>
    </cdr:sp>
  </cdr:relSizeAnchor>
  <cdr:relSizeAnchor xmlns:cdr="http://schemas.openxmlformats.org/drawingml/2006/chartDrawing">
    <cdr:from>
      <cdr:x>0.86777</cdr:x>
      <cdr:y>0.3805</cdr:y>
    </cdr:from>
    <cdr:to>
      <cdr:x>0.94894</cdr:x>
      <cdr:y>0.43162</cdr:y>
    </cdr:to>
    <cdr:sp macro="" textlink="">
      <cdr:nvSpPr>
        <cdr:cNvPr id="12" name="TekstSylinder 14"/>
        <cdr:cNvSpPr txBox="1"/>
      </cdr:nvSpPr>
      <cdr:spPr>
        <a:xfrm xmlns:a="http://schemas.openxmlformats.org/drawingml/2006/main">
          <a:off x="6633185" y="2061822"/>
          <a:ext cx="620461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/>
            <a:t>5,0 %</a:t>
          </a:r>
          <a:endParaRPr lang="nb-NO" sz="1200" b="1" dirty="0"/>
        </a:p>
      </cdr:txBody>
    </cdr:sp>
  </cdr:relSizeAnchor>
  <cdr:relSizeAnchor xmlns:cdr="http://schemas.openxmlformats.org/drawingml/2006/chartDrawing">
    <cdr:from>
      <cdr:x>0.86435</cdr:x>
      <cdr:y>0.25648</cdr:y>
    </cdr:from>
    <cdr:to>
      <cdr:x>0.94552</cdr:x>
      <cdr:y>0.3076</cdr:y>
    </cdr:to>
    <cdr:sp macro="" textlink="">
      <cdr:nvSpPr>
        <cdr:cNvPr id="13" name="TekstSylinder 14"/>
        <cdr:cNvSpPr txBox="1"/>
      </cdr:nvSpPr>
      <cdr:spPr>
        <a:xfrm xmlns:a="http://schemas.openxmlformats.org/drawingml/2006/main">
          <a:off x="6607059" y="1389791"/>
          <a:ext cx="620461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/>
            <a:t>1</a:t>
          </a:r>
          <a:r>
            <a:rPr lang="nb-NO" sz="1200" b="1" dirty="0" smtClean="0"/>
            <a:t>,1 %</a:t>
          </a:r>
          <a:endParaRPr lang="nb-NO" sz="1200" b="1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1319</cdr:x>
      <cdr:y>0.0898</cdr:y>
    </cdr:from>
    <cdr:to>
      <cdr:x>0.96985</cdr:x>
      <cdr:y>0.13801</cdr:y>
    </cdr:to>
    <cdr:sp macro="" textlink="">
      <cdr:nvSpPr>
        <cdr:cNvPr id="2" name="TekstSylinder 1"/>
        <cdr:cNvSpPr txBox="1"/>
      </cdr:nvSpPr>
      <cdr:spPr>
        <a:xfrm xmlns:a="http://schemas.openxmlformats.org/drawingml/2006/main">
          <a:off x="2938250" y="486603"/>
          <a:ext cx="3958500" cy="26123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100" b="1" dirty="0" smtClean="0">
              <a:solidFill>
                <a:srgbClr val="FF0000"/>
              </a:solidFill>
            </a:rPr>
            <a:t>12 </a:t>
          </a:r>
          <a:r>
            <a:rPr lang="nb-NO" sz="1100" b="1" dirty="0" err="1" smtClean="0">
              <a:solidFill>
                <a:srgbClr val="FF0000"/>
              </a:solidFill>
            </a:rPr>
            <a:t>mnd</a:t>
          </a:r>
          <a:r>
            <a:rPr lang="nb-NO" sz="1100" b="1" dirty="0" smtClean="0">
              <a:solidFill>
                <a:srgbClr val="FF0000"/>
              </a:solidFill>
            </a:rPr>
            <a:t> vekst i %</a:t>
          </a:r>
          <a:endParaRPr lang="nb-NO" sz="11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6394</cdr:x>
      <cdr:y>0.31254</cdr:y>
    </cdr:from>
    <cdr:to>
      <cdr:x>0.65119</cdr:x>
      <cdr:y>0.36365</cdr:y>
    </cdr:to>
    <cdr:sp macro="" textlink="">
      <cdr:nvSpPr>
        <cdr:cNvPr id="3" name="TekstSylinder 14"/>
        <cdr:cNvSpPr txBox="1"/>
      </cdr:nvSpPr>
      <cdr:spPr>
        <a:xfrm xmlns:a="http://schemas.openxmlformats.org/drawingml/2006/main">
          <a:off x="4010246" y="1693527"/>
          <a:ext cx="620449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>
              <a:solidFill>
                <a:srgbClr val="FF0000"/>
              </a:solidFill>
            </a:rPr>
            <a:t>9,1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25626</cdr:x>
      <cdr:y>0.60628</cdr:y>
    </cdr:from>
    <cdr:to>
      <cdr:x>0.34351</cdr:x>
      <cdr:y>0.65739</cdr:y>
    </cdr:to>
    <cdr:sp macro="" textlink="">
      <cdr:nvSpPr>
        <cdr:cNvPr id="6" name="TekstSylinder 14"/>
        <cdr:cNvSpPr txBox="1"/>
      </cdr:nvSpPr>
      <cdr:spPr>
        <a:xfrm xmlns:a="http://schemas.openxmlformats.org/drawingml/2006/main">
          <a:off x="1822285" y="3285205"/>
          <a:ext cx="620449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>
              <a:solidFill>
                <a:srgbClr val="FF0000"/>
              </a:solidFill>
            </a:rPr>
            <a:t>-0,9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1275</cdr:x>
      <cdr:y>0.58477</cdr:y>
    </cdr:from>
    <cdr:to>
      <cdr:x>0.5</cdr:x>
      <cdr:y>0.63588</cdr:y>
    </cdr:to>
    <cdr:sp macro="" textlink="">
      <cdr:nvSpPr>
        <cdr:cNvPr id="7" name="TekstSylinder 14"/>
        <cdr:cNvSpPr txBox="1"/>
      </cdr:nvSpPr>
      <cdr:spPr>
        <a:xfrm xmlns:a="http://schemas.openxmlformats.org/drawingml/2006/main">
          <a:off x="2935132" y="3168688"/>
          <a:ext cx="620449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>
              <a:solidFill>
                <a:srgbClr val="FF0000"/>
              </a:solidFill>
            </a:rPr>
            <a:t>8,7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5808</cdr:x>
      <cdr:y>0.56289</cdr:y>
    </cdr:from>
    <cdr:to>
      <cdr:x>0.64533</cdr:x>
      <cdr:y>0.614</cdr:y>
    </cdr:to>
    <cdr:sp macro="" textlink="">
      <cdr:nvSpPr>
        <cdr:cNvPr id="8" name="TekstSylinder 14"/>
        <cdr:cNvSpPr txBox="1"/>
      </cdr:nvSpPr>
      <cdr:spPr>
        <a:xfrm xmlns:a="http://schemas.openxmlformats.org/drawingml/2006/main">
          <a:off x="3968619" y="3050113"/>
          <a:ext cx="620448" cy="27694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>
              <a:solidFill>
                <a:srgbClr val="FF0000"/>
              </a:solidFill>
            </a:rPr>
            <a:t>15,4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25123</cdr:x>
      <cdr:y>0.37822</cdr:y>
    </cdr:from>
    <cdr:to>
      <cdr:x>0.33848</cdr:x>
      <cdr:y>0.42933</cdr:y>
    </cdr:to>
    <cdr:sp macro="" textlink="">
      <cdr:nvSpPr>
        <cdr:cNvPr id="9" name="TekstSylinder 14"/>
        <cdr:cNvSpPr txBox="1"/>
      </cdr:nvSpPr>
      <cdr:spPr>
        <a:xfrm xmlns:a="http://schemas.openxmlformats.org/drawingml/2006/main">
          <a:off x="1786527" y="2049456"/>
          <a:ext cx="620449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>
              <a:solidFill>
                <a:srgbClr val="FF0000"/>
              </a:solidFill>
            </a:rPr>
            <a:t>14,9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1275</cdr:x>
      <cdr:y>0.35161</cdr:y>
    </cdr:from>
    <cdr:to>
      <cdr:x>0.5</cdr:x>
      <cdr:y>0.40272</cdr:y>
    </cdr:to>
    <cdr:sp macro="" textlink="">
      <cdr:nvSpPr>
        <cdr:cNvPr id="10" name="TekstSylinder 14"/>
        <cdr:cNvSpPr txBox="1"/>
      </cdr:nvSpPr>
      <cdr:spPr>
        <a:xfrm xmlns:a="http://schemas.openxmlformats.org/drawingml/2006/main">
          <a:off x="2935132" y="1905258"/>
          <a:ext cx="620449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>
              <a:solidFill>
                <a:srgbClr val="FF0000"/>
              </a:solidFill>
            </a:rPr>
            <a:t>0,7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71441</cdr:x>
      <cdr:y>0.28293</cdr:y>
    </cdr:from>
    <cdr:to>
      <cdr:x>0.80166</cdr:x>
      <cdr:y>0.33404</cdr:y>
    </cdr:to>
    <cdr:sp macro="" textlink="">
      <cdr:nvSpPr>
        <cdr:cNvPr id="11" name="TekstSylinder 14"/>
        <cdr:cNvSpPr txBox="1"/>
      </cdr:nvSpPr>
      <cdr:spPr>
        <a:xfrm xmlns:a="http://schemas.openxmlformats.org/drawingml/2006/main">
          <a:off x="5080298" y="1533090"/>
          <a:ext cx="620448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>
              <a:solidFill>
                <a:srgbClr val="FF0000"/>
              </a:solidFill>
            </a:rPr>
            <a:t>6</a:t>
          </a:r>
          <a:r>
            <a:rPr lang="nb-NO" sz="1200" b="1" dirty="0" smtClean="0">
              <a:solidFill>
                <a:srgbClr val="FF0000"/>
              </a:solidFill>
            </a:rPr>
            <a:t>,1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70979</cdr:x>
      <cdr:y>0.52447</cdr:y>
    </cdr:from>
    <cdr:to>
      <cdr:x>0.79704</cdr:x>
      <cdr:y>0.57558</cdr:y>
    </cdr:to>
    <cdr:sp macro="" textlink="">
      <cdr:nvSpPr>
        <cdr:cNvPr id="12" name="TekstSylinder 14"/>
        <cdr:cNvSpPr txBox="1"/>
      </cdr:nvSpPr>
      <cdr:spPr>
        <a:xfrm xmlns:a="http://schemas.openxmlformats.org/drawingml/2006/main">
          <a:off x="5047444" y="2841931"/>
          <a:ext cx="620449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>
              <a:solidFill>
                <a:srgbClr val="FF0000"/>
              </a:solidFill>
            </a:rPr>
            <a:t>16,8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86634</cdr:x>
      <cdr:y>0.52447</cdr:y>
    </cdr:from>
    <cdr:to>
      <cdr:x>0.95359</cdr:x>
      <cdr:y>0.57558</cdr:y>
    </cdr:to>
    <cdr:sp macro="" textlink="">
      <cdr:nvSpPr>
        <cdr:cNvPr id="13" name="TekstSylinder 14"/>
        <cdr:cNvSpPr txBox="1"/>
      </cdr:nvSpPr>
      <cdr:spPr>
        <a:xfrm xmlns:a="http://schemas.openxmlformats.org/drawingml/2006/main">
          <a:off x="6160690" y="2841931"/>
          <a:ext cx="620449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>
              <a:solidFill>
                <a:srgbClr val="FF0000"/>
              </a:solidFill>
            </a:rPr>
            <a:t>18,6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85899</cdr:x>
      <cdr:y>0.28524</cdr:y>
    </cdr:from>
    <cdr:to>
      <cdr:x>0.94624</cdr:x>
      <cdr:y>0.33635</cdr:y>
    </cdr:to>
    <cdr:sp macro="" textlink="">
      <cdr:nvSpPr>
        <cdr:cNvPr id="14" name="TekstSylinder 14"/>
        <cdr:cNvSpPr txBox="1"/>
      </cdr:nvSpPr>
      <cdr:spPr>
        <a:xfrm xmlns:a="http://schemas.openxmlformats.org/drawingml/2006/main">
          <a:off x="6108438" y="1545599"/>
          <a:ext cx="620449" cy="27694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200" b="1" dirty="0" smtClean="0">
              <a:solidFill>
                <a:srgbClr val="FF0000"/>
              </a:solidFill>
            </a:rPr>
            <a:t>3,2 %</a:t>
          </a:r>
          <a:endParaRPr lang="nb-NO" sz="1200" b="1" dirty="0">
            <a:solidFill>
              <a:srgbClr val="FF000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DA669-B95B-4310-9FCD-8D5A7219CDCB}" type="datetimeFigureOut">
              <a:rPr lang="nb-NO" smtClean="0"/>
              <a:t>14.01.2020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959FE6-AFC4-4FAE-B50C-918B745FAEA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82931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BCEA9A-E81C-4B81-88AE-F3EAA470C8F3}" type="datetimeFigureOut">
              <a:rPr lang="nb-NO" smtClean="0"/>
              <a:t>14.01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D50294-A917-4C03-B82D-6873A71C923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81302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80184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Nytt bilde. Geir er lei!!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20351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29202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952206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31830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60318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372424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Sjekk beløp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18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4128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Oppdater – oppdater budsjett – fjern 17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26705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Nytt bild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0933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21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309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err="1" smtClean="0"/>
              <a:t>Junitall</a:t>
            </a:r>
            <a:r>
              <a:rPr lang="nb-NO" dirty="0" smtClean="0"/>
              <a:t>?</a:t>
            </a:r>
          </a:p>
          <a:p>
            <a:r>
              <a:rPr lang="nb-NO" dirty="0" smtClean="0"/>
              <a:t>Prøv</a:t>
            </a:r>
            <a:r>
              <a:rPr lang="nb-NO" baseline="0" dirty="0" smtClean="0"/>
              <a:t> med graf fra 2010??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D50294-A917-4C03-B82D-6873A71C923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61814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22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2583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917585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25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0308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26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4058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29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5356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09269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97168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32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86210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979238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14682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D50294-A917-4C03-B82D-6873A71C923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805484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36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78657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37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1510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3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851163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4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4982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egg inn bilde!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4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9264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43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9859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egg inn bild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4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5107850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45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68172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46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88752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Endre bild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4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1816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D50294-A917-4C03-B82D-6873A71C923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387349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D50294-A917-4C03-B82D-6873A71C923E}" type="slidenum">
              <a:rPr lang="nb-NO" smtClean="0"/>
              <a:t>4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085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59314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ag kvartalssid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D50294-A917-4C03-B82D-6873A71C923E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611718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ag kvartalssid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D50294-A917-4C03-B82D-6873A71C923E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46880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>
                <a:solidFill>
                  <a:prstClr val="black"/>
                </a:solidFill>
              </a:rPr>
              <a:pPr/>
              <a:t>9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528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egg inn bilde til høyre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2A997-EC59-491C-B2AC-697360834A5C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1700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4.png"/><Relationship Id="rId5" Type="http://schemas.openxmlformats.org/officeDocument/2006/relationships/image" Target="../media/image110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1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1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12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0.emf"/><Relationship Id="rId4" Type="http://schemas.openxmlformats.org/officeDocument/2006/relationships/oleObject" Target="../embeddings/oleObject13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lide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481" y="5681668"/>
            <a:ext cx="3700520" cy="1061841"/>
          </a:xfrm>
          <a:prstGeom prst="rect">
            <a:avLst/>
          </a:prstGeom>
        </p:spPr>
      </p:pic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448163" y="3754440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bg1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2448163" y="2039658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576040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577735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88">
          <p15:clr>
            <a:srgbClr val="FBAE40"/>
          </p15:clr>
        </p15:guide>
        <p15:guide id="2" pos="1011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9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i blåt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314"/>
            <a:ext cx="597459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67931" y="2550921"/>
            <a:ext cx="4793711" cy="1116075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7A62A4-CA44-43B2-A8A9-61BE04E9E269}" type="datetime1">
              <a:rPr lang="nb-NO" smtClean="0">
                <a:solidFill>
                  <a:prstClr val="white"/>
                </a:solidFill>
              </a:rPr>
              <a:t>14.01.2020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745884" y="995527"/>
            <a:ext cx="4794491" cy="510448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63554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7097E-198D-4A4D-AE94-3F5B2D2C2468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781256" y="1660527"/>
            <a:ext cx="4793711" cy="433288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6192404" y="1737000"/>
            <a:ext cx="5238341" cy="4356000"/>
          </a:xfrm>
          <a:solidFill>
            <a:schemeClr val="bg2"/>
          </a:solidFill>
        </p:spPr>
        <p:txBody>
          <a:bodyPr bIns="674708" anchor="ctr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47826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31483" y="691289"/>
            <a:ext cx="4793711" cy="1116203"/>
          </a:xfrm>
        </p:spPr>
        <p:txBody>
          <a:bodyPr anchor="t" anchorCtr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6927EA-C8B9-477C-ABFC-B75CBAE09518}" type="datetime1">
              <a:rPr lang="nb-NO" smtClean="0">
                <a:solidFill>
                  <a:prstClr val="white"/>
                </a:solidFill>
              </a:rPr>
              <a:t>14.01.2020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731477" y="2385299"/>
            <a:ext cx="4794491" cy="3738776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 hasCustomPrompt="1"/>
          </p:nvPr>
        </p:nvSpPr>
        <p:spPr>
          <a:xfrm>
            <a:off x="3" y="0"/>
            <a:ext cx="5973535" cy="6858000"/>
          </a:xfrm>
          <a:prstGeom prst="rect">
            <a:avLst/>
          </a:prstGeom>
          <a:solidFill>
            <a:schemeClr val="bg2"/>
          </a:solidFill>
        </p:spPr>
        <p:txBody>
          <a:bodyPr lIns="34276" tIns="17137" rIns="34276" bIns="1349415" anchor="ctr" anchorCtr="1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04454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6D13-6F1A-4BC3-980F-F72524EDC10C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781252" y="1737000"/>
            <a:ext cx="10649493" cy="4356000"/>
          </a:xfrm>
          <a:solidFill>
            <a:schemeClr val="bg2"/>
          </a:solidFill>
        </p:spPr>
        <p:txBody>
          <a:bodyPr bIns="674708" anchor="ctr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941445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90" y="748890"/>
            <a:ext cx="10515601" cy="558039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92" y="1681164"/>
            <a:ext cx="5157787" cy="823912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490" indent="0">
              <a:buNone/>
              <a:defRPr sz="1067" b="1"/>
            </a:lvl2pPr>
            <a:lvl3pPr marL="456979" indent="0">
              <a:buNone/>
              <a:defRPr sz="933" b="1"/>
            </a:lvl3pPr>
            <a:lvl4pPr marL="685470" indent="0">
              <a:buNone/>
              <a:defRPr sz="800" b="1"/>
            </a:lvl4pPr>
            <a:lvl5pPr marL="913957" indent="0">
              <a:buNone/>
              <a:defRPr sz="800" b="1"/>
            </a:lvl5pPr>
            <a:lvl6pPr marL="1142446" indent="0">
              <a:buNone/>
              <a:defRPr sz="800" b="1"/>
            </a:lvl6pPr>
            <a:lvl7pPr marL="1370936" indent="0">
              <a:buNone/>
              <a:defRPr sz="800" b="1"/>
            </a:lvl7pPr>
            <a:lvl8pPr marL="1599427" indent="0">
              <a:buNone/>
              <a:defRPr sz="800" b="1"/>
            </a:lvl8pPr>
            <a:lvl9pPr marL="1827917" indent="0">
              <a:buNone/>
              <a:defRPr sz="8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92" y="2505078"/>
            <a:ext cx="5157787" cy="368458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201" y="1681164"/>
            <a:ext cx="5183187" cy="823912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490" indent="0">
              <a:buNone/>
              <a:defRPr sz="1067" b="1"/>
            </a:lvl2pPr>
            <a:lvl3pPr marL="456979" indent="0">
              <a:buNone/>
              <a:defRPr sz="933" b="1"/>
            </a:lvl3pPr>
            <a:lvl4pPr marL="685470" indent="0">
              <a:buNone/>
              <a:defRPr sz="800" b="1"/>
            </a:lvl4pPr>
            <a:lvl5pPr marL="913957" indent="0">
              <a:buNone/>
              <a:defRPr sz="800" b="1"/>
            </a:lvl5pPr>
            <a:lvl6pPr marL="1142446" indent="0">
              <a:buNone/>
              <a:defRPr sz="800" b="1"/>
            </a:lvl6pPr>
            <a:lvl7pPr marL="1370936" indent="0">
              <a:buNone/>
              <a:defRPr sz="800" b="1"/>
            </a:lvl7pPr>
            <a:lvl8pPr marL="1599427" indent="0">
              <a:buNone/>
              <a:defRPr sz="800" b="1"/>
            </a:lvl8pPr>
            <a:lvl9pPr marL="1827917" indent="0">
              <a:buNone/>
              <a:defRPr sz="8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72201" y="2505078"/>
            <a:ext cx="5183187" cy="368458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FC29F9-1FFD-4828-93AF-35ED5A213CF1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4152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92615" y="1724895"/>
            <a:ext cx="8006773" cy="308890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898552" y="2286289"/>
            <a:ext cx="6689949" cy="2158713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5BF44D-BF6B-4E47-99C8-37CD231E4013}" type="datetime1">
              <a:rPr lang="nb-NO" smtClean="0">
                <a:solidFill>
                  <a:prstClr val="black"/>
                </a:solidFill>
              </a:rPr>
              <a:t>14.01.2020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prstClr val="black"/>
                </a:solidFill>
              </a:rPr>
              <a:t>Lederforum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2898553" y="5049635"/>
            <a:ext cx="7103351" cy="642509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4539" y="952320"/>
            <a:ext cx="1008031" cy="1010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3457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9D209-69B4-41E7-8134-860EDA3BA957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1236839" y="1854235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4"/>
          </p:nvPr>
        </p:nvSpPr>
        <p:spPr>
          <a:xfrm>
            <a:off x="2664508" y="703891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1236839" y="703891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1236839" y="4154923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1236839" y="3004579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1236839" y="5305267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33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3" name="Plassholder for tekst 7"/>
          <p:cNvSpPr>
            <a:spLocks noGrp="1"/>
          </p:cNvSpPr>
          <p:nvPr>
            <p:ph type="body" sz="quarter" idx="19"/>
          </p:nvPr>
        </p:nvSpPr>
        <p:spPr>
          <a:xfrm>
            <a:off x="2664508" y="1854235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4" name="Plassholder for tekst 7"/>
          <p:cNvSpPr>
            <a:spLocks noGrp="1"/>
          </p:cNvSpPr>
          <p:nvPr>
            <p:ph type="body" sz="quarter" idx="20"/>
          </p:nvPr>
        </p:nvSpPr>
        <p:spPr>
          <a:xfrm>
            <a:off x="2664508" y="3004579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5" name="Plassholder for tekst 7"/>
          <p:cNvSpPr>
            <a:spLocks noGrp="1"/>
          </p:cNvSpPr>
          <p:nvPr>
            <p:ph type="body" sz="quarter" idx="21"/>
          </p:nvPr>
        </p:nvSpPr>
        <p:spPr>
          <a:xfrm>
            <a:off x="2662705" y="4154923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6" name="Plassholder for tekst 7"/>
          <p:cNvSpPr>
            <a:spLocks noGrp="1"/>
          </p:cNvSpPr>
          <p:nvPr>
            <p:ph type="body" sz="quarter" idx="22"/>
          </p:nvPr>
        </p:nvSpPr>
        <p:spPr>
          <a:xfrm>
            <a:off x="2662705" y="5291606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33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4757326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nummere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41076" indent="-541076">
              <a:buFont typeface="+mj-lt"/>
              <a:buAutoNum type="arabicPeriod"/>
              <a:defRPr/>
            </a:lvl1pPr>
            <a:lvl2pPr marL="1478835" indent="-364158">
              <a:defRPr/>
            </a:lvl2pPr>
            <a:lvl3pPr marL="1707325" indent="-364158">
              <a:defRPr/>
            </a:lvl3pPr>
            <a:lvl4pPr marL="2104802" indent="-353050" defTabSz="558529">
              <a:defRPr/>
            </a:lvl4pPr>
            <a:lvl5pPr marL="2417388" indent="-353050">
              <a:tabLst>
                <a:tab pos="2729974" algn="l"/>
              </a:tabLst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26B46E-3710-49C8-8A68-BB15DA1C1934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528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569902" y="2331292"/>
            <a:ext cx="9777553" cy="1642160"/>
          </a:xfrm>
        </p:spPr>
        <p:txBody>
          <a:bodyPr anchor="t" anchorCtr="0">
            <a:normAutofit/>
          </a:bodyPr>
          <a:lstStyle>
            <a:lvl1pPr>
              <a:defRPr sz="4933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D15B05-40F6-45FE-8FB0-427A3A176AE6}" type="datetime1">
              <a:rPr lang="nb-NO" smtClean="0">
                <a:solidFill>
                  <a:prstClr val="white"/>
                </a:solidFill>
              </a:rPr>
              <a:t>14.01.2020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289" y="6288554"/>
            <a:ext cx="1847713" cy="569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2973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llomside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569902" y="2331292"/>
            <a:ext cx="9777553" cy="1642160"/>
          </a:xfrm>
        </p:spPr>
        <p:txBody>
          <a:bodyPr anchor="t" anchorCtr="0">
            <a:normAutofit/>
          </a:bodyPr>
          <a:lstStyle>
            <a:lvl1pPr>
              <a:defRPr sz="4933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A0FA9B4-6A80-44B9-A2A1-C1647C08723A}" type="datetime1">
              <a:rPr lang="nb-NO" smtClean="0">
                <a:solidFill>
                  <a:prstClr val="black"/>
                </a:solidFill>
              </a:rPr>
              <a:t>14.01.2020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prstClr val="black"/>
                </a:solidFill>
              </a:rPr>
              <a:t>Lederforum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874823" y="2"/>
            <a:ext cx="1851024" cy="255377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defTabSz="913912"/>
            <a:r>
              <a:rPr lang="nb-NO" sz="1333" b="1" dirty="0">
                <a:solidFill>
                  <a:prstClr val="white"/>
                </a:solidFill>
              </a:rPr>
              <a:t>Hvordan sette inn bakgrunnsbilde: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Høyreklikk på lysbildet og velg </a:t>
            </a:r>
            <a:r>
              <a:rPr lang="nb-NO" sz="1333" b="1" dirty="0">
                <a:solidFill>
                  <a:prstClr val="white"/>
                </a:solidFill>
              </a:rPr>
              <a:t>«Formater bakgrunn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Velg </a:t>
            </a:r>
            <a:r>
              <a:rPr lang="nb-NO" sz="1333" b="1" dirty="0">
                <a:solidFill>
                  <a:prstClr val="white"/>
                </a:solidFill>
              </a:rPr>
              <a:t>«Fyll» &gt; «Bilde eller tekstur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Trykk </a:t>
            </a:r>
            <a:r>
              <a:rPr lang="nb-NO" sz="1333" b="1" dirty="0">
                <a:solidFill>
                  <a:prstClr val="white"/>
                </a:solidFill>
              </a:rPr>
              <a:t>«Sett inn fra Fil…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Bla deg fram til ønsket bilde</a:t>
            </a:r>
          </a:p>
        </p:txBody>
      </p:sp>
    </p:spTree>
    <p:extLst>
      <p:ext uri="{BB962C8B-B14F-4D97-AF65-F5344CB8AC3E}">
        <p14:creationId xmlns:p14="http://schemas.microsoft.com/office/powerpoint/2010/main" val="276684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lide m bilde og ik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576040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448163" y="2039658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448163" y="3754440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accent2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0339" y="5681609"/>
            <a:ext cx="3701660" cy="1062168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-1874823" y="2"/>
            <a:ext cx="1851024" cy="255377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defTabSz="913912"/>
            <a:r>
              <a:rPr lang="nb-NO" sz="1333" b="1" dirty="0">
                <a:solidFill>
                  <a:prstClr val="white"/>
                </a:solidFill>
              </a:rPr>
              <a:t>Hvordan sette inn bakgrunnsbilde: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Høyreklikk på lysbildet og velg </a:t>
            </a:r>
            <a:r>
              <a:rPr lang="nb-NO" sz="1333" b="1" dirty="0">
                <a:solidFill>
                  <a:prstClr val="white"/>
                </a:solidFill>
              </a:rPr>
              <a:t>«Formater bakgrunn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Velg </a:t>
            </a:r>
            <a:r>
              <a:rPr lang="nb-NO" sz="1333" b="1" dirty="0">
                <a:solidFill>
                  <a:prstClr val="white"/>
                </a:solidFill>
              </a:rPr>
              <a:t>«Fyll» &gt; «Bilde eller tekstur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Trykk </a:t>
            </a:r>
            <a:r>
              <a:rPr lang="nb-NO" sz="1333" b="1" dirty="0">
                <a:solidFill>
                  <a:prstClr val="white"/>
                </a:solidFill>
              </a:rPr>
              <a:t>«Sett inn fra Fil…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Bla deg fram til ønsket bilde</a:t>
            </a:r>
          </a:p>
        </p:txBody>
      </p:sp>
    </p:spTree>
    <p:extLst>
      <p:ext uri="{BB962C8B-B14F-4D97-AF65-F5344CB8AC3E}">
        <p14:creationId xmlns:p14="http://schemas.microsoft.com/office/powerpoint/2010/main" val="33693089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0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688">
          <p15:clr>
            <a:srgbClr val="FBAE40"/>
          </p15:clr>
        </p15:guide>
        <p15:guide id="4" orient="horz" pos="9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blå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sp>
        <p:nvSpPr>
          <p:cNvPr id="9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576040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700513" y="2331294"/>
            <a:ext cx="8862587" cy="1976015"/>
          </a:xfrm>
        </p:spPr>
        <p:txBody>
          <a:bodyPr anchor="t" anchorCtr="0">
            <a:normAutofit/>
          </a:bodyPr>
          <a:lstStyle>
            <a:lvl1pPr>
              <a:defRPr sz="4933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4B4428-ED7D-42BC-86C6-F1E90AB69507}" type="datetime1">
              <a:rPr lang="nb-NO" smtClean="0">
                <a:solidFill>
                  <a:prstClr val="white"/>
                </a:solidFill>
              </a:rPr>
              <a:t>14.01.2020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289" y="6288554"/>
            <a:ext cx="1847713" cy="569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032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40">
          <p15:clr>
            <a:srgbClr val="FBAE40"/>
          </p15:clr>
        </p15:guide>
        <p15:guide id="2" pos="1015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168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m ikon og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700513" y="2331294"/>
            <a:ext cx="8862587" cy="1976015"/>
          </a:xfrm>
        </p:spPr>
        <p:txBody>
          <a:bodyPr anchor="t" anchorCtr="0">
            <a:normAutofit/>
          </a:bodyPr>
          <a:lstStyle>
            <a:lvl1pPr>
              <a:defRPr sz="4933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13C73-A5EF-496E-8FDD-4DD09782313F}" type="datetime1">
              <a:rPr lang="nb-NO" smtClean="0">
                <a:solidFill>
                  <a:prstClr val="white"/>
                </a:solidFill>
              </a:rPr>
              <a:t>14.01.2020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Lederforum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289" y="6288554"/>
            <a:ext cx="1847713" cy="569449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-1874823" y="2"/>
            <a:ext cx="1851024" cy="255377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defTabSz="913912"/>
            <a:r>
              <a:rPr lang="nb-NO" sz="1333" b="1" dirty="0">
                <a:solidFill>
                  <a:prstClr val="white"/>
                </a:solidFill>
              </a:rPr>
              <a:t>Hvordan sette inn bakgrunnsbilde: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Høyreklikk på lysbildet og velg </a:t>
            </a:r>
            <a:r>
              <a:rPr lang="nb-NO" sz="1333" b="1" dirty="0">
                <a:solidFill>
                  <a:prstClr val="white"/>
                </a:solidFill>
              </a:rPr>
              <a:t>«Formater bakgrunn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Velg </a:t>
            </a:r>
            <a:r>
              <a:rPr lang="nb-NO" sz="1333" b="1" dirty="0">
                <a:solidFill>
                  <a:prstClr val="white"/>
                </a:solidFill>
              </a:rPr>
              <a:t>«Fyll» &gt; «Bilde eller tekstur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Trykk </a:t>
            </a:r>
            <a:r>
              <a:rPr lang="nb-NO" sz="1333" b="1" dirty="0">
                <a:solidFill>
                  <a:prstClr val="white"/>
                </a:solidFill>
              </a:rPr>
              <a:t>«Sett inn fra Fil…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Bla deg fram til ønsket bilde</a:t>
            </a:r>
          </a:p>
        </p:txBody>
      </p:sp>
      <p:sp>
        <p:nvSpPr>
          <p:cNvPr id="10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576040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615847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011">
          <p15:clr>
            <a:srgbClr val="FBAE40"/>
          </p15:clr>
        </p15:guide>
        <p15:guide id="2" orient="horz" pos="1688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9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bok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2095603" y="1724616"/>
            <a:ext cx="8004321" cy="30891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1" tIns="22849" rIns="45701" bIns="22849" rtlCol="0" anchor="ctr"/>
          <a:lstStyle/>
          <a:p>
            <a:pPr algn="ctr" defTabSz="913912"/>
            <a:endParaRPr lang="nb-NO" sz="1867">
              <a:solidFill>
                <a:prstClr val="white"/>
              </a:solidFill>
            </a:endParaRPr>
          </a:p>
        </p:txBody>
      </p:sp>
      <p:sp>
        <p:nvSpPr>
          <p:cNvPr id="8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2394459" y="952320"/>
            <a:ext cx="1008191" cy="1008125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898552" y="2286289"/>
            <a:ext cx="6689949" cy="2158713"/>
          </a:xfrm>
        </p:spPr>
        <p:txBody>
          <a:bodyPr anchor="t" anchorCtr="0">
            <a:normAutofit/>
          </a:bodyPr>
          <a:lstStyle>
            <a:lvl1pPr>
              <a:defRPr sz="4933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329C703-22F1-4EEB-8A15-742684E40A4A}" type="datetime1">
              <a:rPr lang="nb-NO" smtClean="0">
                <a:solidFill>
                  <a:prstClr val="black"/>
                </a:solidFill>
              </a:rPr>
              <a:t>14.01.2020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prstClr val="black"/>
                </a:solidFill>
              </a:rPr>
              <a:t>Lederforum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410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124">
          <p15:clr>
            <a:srgbClr val="FBAE40"/>
          </p15:clr>
        </p15:guide>
        <p15:guide id="2" pos="1610">
          <p15:clr>
            <a:srgbClr val="FBAE40"/>
          </p15:clr>
        </p15:guide>
        <p15:guide id="3" orient="horz" pos="926">
          <p15:clr>
            <a:srgbClr val="FBAE40"/>
          </p15:clr>
        </p15:guide>
        <p15:guide id="4" orient="horz" pos="44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1660317" y="2563523"/>
            <a:ext cx="8862587" cy="1976015"/>
          </a:xfrm>
        </p:spPr>
        <p:txBody>
          <a:bodyPr anchor="t" anchorCtr="0">
            <a:noAutofit/>
          </a:bodyPr>
          <a:lstStyle>
            <a:lvl1pPr algn="ctr">
              <a:defRPr sz="10000" b="1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Tekst</a:t>
            </a:r>
            <a:endParaRPr lang="nb-NO" dirty="0"/>
          </a:p>
        </p:txBody>
      </p:sp>
      <p:pic>
        <p:nvPicPr>
          <p:cNvPr id="5" name="Bil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636" y="5541237"/>
            <a:ext cx="2939525" cy="84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7333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BF24D-78E6-49A8-B0D6-07CA8B170B19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Rektangel 4"/>
          <p:cNvSpPr/>
          <p:nvPr userDrawn="1"/>
        </p:nvSpPr>
        <p:spPr>
          <a:xfrm>
            <a:off x="162032" y="3305217"/>
            <a:ext cx="11875056" cy="18038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1" tIns="22849" rIns="45701" bIns="22849" rtlCol="0" anchor="ctr"/>
          <a:lstStyle/>
          <a:p>
            <a:pPr algn="ctr" defTabSz="913912"/>
            <a:endParaRPr lang="nb-NO" sz="186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264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1854" y="4187034"/>
            <a:ext cx="10515601" cy="375444"/>
          </a:xfrm>
        </p:spPr>
        <p:txBody>
          <a:bodyPr anchor="b"/>
          <a:lstStyle>
            <a:lvl1pPr>
              <a:defRPr sz="3067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1854" y="4589465"/>
            <a:ext cx="10515601" cy="1500187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22849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2pPr>
            <a:lvl3pPr marL="456979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3pPr>
            <a:lvl4pPr marL="68547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3957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244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093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599427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7917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28DA6-BD6C-4E18-9A9A-9E28D68BE682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9938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F1C22-FC5C-4A62-9A5F-88503C6D3FDB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1481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D4CDE-44C8-4FA8-9CD9-B21F2574B578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836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40846" y="6441947"/>
            <a:ext cx="605935" cy="205121"/>
          </a:xfrm>
        </p:spPr>
        <p:txBody>
          <a:bodyPr/>
          <a:lstStyle/>
          <a:p>
            <a:fld id="{5CECDB12-A566-4CB8-A37F-170D2ADA7F86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2" y="6032023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4" name="Isosceles Triangle 3"/>
          <p:cNvSpPr/>
          <p:nvPr userDrawn="1"/>
        </p:nvSpPr>
        <p:spPr>
          <a:xfrm rot="5400000">
            <a:off x="4262460" y="3294280"/>
            <a:ext cx="3708403" cy="37739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12"/>
            <a:endParaRPr lang="nb-NO" sz="1400">
              <a:solidFill>
                <a:prstClr val="white"/>
              </a:solidFill>
            </a:endParaRPr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040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573398" y="1639251"/>
            <a:ext cx="5042873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innhold 2"/>
          <p:cNvSpPr>
            <a:spLocks noGrp="1"/>
          </p:cNvSpPr>
          <p:nvPr>
            <p:ph idx="1"/>
          </p:nvPr>
        </p:nvSpPr>
        <p:spPr>
          <a:xfrm>
            <a:off x="575736" y="2009887"/>
            <a:ext cx="5040001" cy="3327375"/>
          </a:xfrm>
        </p:spPr>
        <p:txBody>
          <a:bodyPr>
            <a:normAutofit/>
          </a:bodyPr>
          <a:lstStyle>
            <a:lvl1pPr marL="177792" indent="-177792">
              <a:defRPr sz="1600"/>
            </a:lvl1pPr>
            <a:lvl2pPr marL="355582" indent="-177792">
              <a:defRPr sz="1400"/>
            </a:lvl2pPr>
            <a:lvl3pPr marL="531787" indent="-176205">
              <a:defRPr sz="1200"/>
            </a:lvl3pPr>
            <a:lvl4pPr marL="723865" indent="-192078">
              <a:defRPr sz="1100"/>
            </a:lvl4pPr>
            <a:lvl5pPr marL="900068" indent="-176205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8" name="Plassholder for innhold 2"/>
          <p:cNvSpPr>
            <a:spLocks noGrp="1"/>
          </p:cNvSpPr>
          <p:nvPr>
            <p:ph idx="13"/>
          </p:nvPr>
        </p:nvSpPr>
        <p:spPr>
          <a:xfrm>
            <a:off x="6573398" y="2009885"/>
            <a:ext cx="5042871" cy="3327291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2" lvl="0" indent="-177792"/>
            <a:r>
              <a:rPr lang="en-US" smtClean="0"/>
              <a:t>Click to edit Master text styles</a:t>
            </a:r>
          </a:p>
          <a:p>
            <a:pPr marL="177792" lvl="1" indent="-177792"/>
            <a:r>
              <a:rPr lang="en-US" smtClean="0"/>
              <a:t>Second level</a:t>
            </a:r>
          </a:p>
          <a:p>
            <a:pPr marL="177792" lvl="2" indent="-177792"/>
            <a:r>
              <a:rPr lang="en-US" smtClean="0"/>
              <a:t>Third level</a:t>
            </a:r>
          </a:p>
          <a:p>
            <a:pPr marL="177792" lvl="3" indent="-177792"/>
            <a:r>
              <a:rPr lang="en-US" smtClean="0"/>
              <a:t>Fourth level</a:t>
            </a:r>
          </a:p>
          <a:p>
            <a:pPr marL="177792" lvl="4" indent="-177792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901700" y="5424250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54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31757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i blåt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4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e 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224" y="-1314"/>
            <a:ext cx="4079776" cy="6860627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40848" y="6441947"/>
            <a:ext cx="621965" cy="164212"/>
          </a:xfrm>
        </p:spPr>
        <p:txBody>
          <a:bodyPr/>
          <a:lstStyle>
            <a:lvl1pPr>
              <a:defRPr sz="1067">
                <a:solidFill>
                  <a:schemeClr val="accent4"/>
                </a:solidFill>
              </a:defRPr>
            </a:lvl1pPr>
          </a:lstStyle>
          <a:p>
            <a:fld id="{1B601E8D-3954-49BF-B323-1BBC34257365}" type="datetime1">
              <a:rPr lang="nb-NO" smtClean="0">
                <a:solidFill>
                  <a:srgbClr val="032A74"/>
                </a:solidFill>
              </a:rPr>
              <a:pPr/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1535503" y="6441947"/>
            <a:ext cx="8358445" cy="164148"/>
          </a:xfrm>
        </p:spPr>
        <p:txBody>
          <a:bodyPr/>
          <a:lstStyle>
            <a:lvl1pPr>
              <a:defRPr sz="1067">
                <a:solidFill>
                  <a:schemeClr val="accent4"/>
                </a:solidFill>
              </a:defRPr>
            </a:lvl1pPr>
          </a:lstStyle>
          <a:p>
            <a:r>
              <a:rPr lang="nb-NO" smtClean="0">
                <a:solidFill>
                  <a:srgbClr val="032A74"/>
                </a:solidFill>
              </a:rPr>
              <a:t>BV Q4 2017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93420" y="6441947"/>
            <a:ext cx="162437" cy="164148"/>
          </a:xfrm>
        </p:spPr>
        <p:txBody>
          <a:bodyPr/>
          <a:lstStyle>
            <a:lvl1pPr>
              <a:defRPr sz="1067">
                <a:solidFill>
                  <a:schemeClr val="accent4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781252" y="723457"/>
            <a:ext cx="7042941" cy="558101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2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l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481" y="5681668"/>
            <a:ext cx="3700520" cy="106184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32579" y="2039658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32579" y="3754440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bg1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8521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l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6"/>
          <p:cNvSpPr/>
          <p:nvPr userDrawn="1"/>
        </p:nvSpPr>
        <p:spPr>
          <a:xfrm>
            <a:off x="2" y="-17027"/>
            <a:ext cx="12336692" cy="68750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76" rIns="68557" bIns="34276" rtlCol="0" anchor="ctr"/>
          <a:lstStyle/>
          <a:p>
            <a:pPr algn="ctr" defTabSz="914377"/>
            <a:endParaRPr lang="nb-NO" sz="2775">
              <a:solidFill>
                <a:srgbClr val="7FC6E8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75735" y="2039662"/>
            <a:ext cx="9500847" cy="1654407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75735" y="3754441"/>
            <a:ext cx="9500847" cy="415499"/>
          </a:xfrm>
        </p:spPr>
        <p:txBody>
          <a:bodyPr wrap="square">
            <a:spAutoFit/>
          </a:bodyPr>
          <a:lstStyle>
            <a:lvl1pPr marL="0" indent="0" algn="l">
              <a:buNone/>
              <a:defRPr sz="2700">
                <a:solidFill>
                  <a:srgbClr val="FFFFFF"/>
                </a:solidFill>
              </a:defRPr>
            </a:lvl1pPr>
            <a:lvl2pPr marL="171364" indent="0" algn="ctr">
              <a:buNone/>
              <a:defRPr sz="800"/>
            </a:lvl2pPr>
            <a:lvl3pPr marL="342726" indent="0" algn="ctr">
              <a:buNone/>
              <a:defRPr sz="700"/>
            </a:lvl3pPr>
            <a:lvl4pPr marL="514090" indent="0" algn="ctr">
              <a:buNone/>
              <a:defRPr sz="700"/>
            </a:lvl4pPr>
            <a:lvl5pPr marL="685454" indent="0" algn="ctr">
              <a:buNone/>
              <a:defRPr sz="700"/>
            </a:lvl5pPr>
            <a:lvl6pPr marL="856815" indent="0" algn="ctr">
              <a:buNone/>
              <a:defRPr sz="700"/>
            </a:lvl6pPr>
            <a:lvl7pPr marL="1028178" indent="0" algn="ctr">
              <a:buNone/>
              <a:defRPr sz="700"/>
            </a:lvl7pPr>
            <a:lvl8pPr marL="1199541" indent="0" algn="ctr">
              <a:buNone/>
              <a:defRPr sz="700"/>
            </a:lvl8pPr>
            <a:lvl9pPr marL="1370904" indent="0" algn="ctr">
              <a:buNone/>
              <a:defRPr sz="700"/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pic>
        <p:nvPicPr>
          <p:cNvPr id="7" name="Picture 6" descr="rgb_SB1_BV_verti_ne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065" y="5373218"/>
            <a:ext cx="4943540" cy="14187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0901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5735" y="1628775"/>
            <a:ext cx="11040533" cy="43926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C6588-F90B-4EAB-BB34-961E6F9C2E06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53919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2">
          <p15:clr>
            <a:srgbClr val="FBAE40"/>
          </p15:clr>
        </p15:guide>
        <p15:guide id="3" pos="54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5735" y="1628775"/>
            <a:ext cx="11040533" cy="3708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EEB4E-6A2B-464E-8F1A-488049BF1A5E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58281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2">
          <p15:clr>
            <a:srgbClr val="FBAE40"/>
          </p15:clr>
        </p15:guide>
        <p15:guide id="3" pos="54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7C92-DD71-46CF-A2C2-B84584F06886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604157" y="3177794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604157" y="4713155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604157" y="3945475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604157" y="5480834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6" name="Plassholder for tekst 7"/>
          <p:cNvSpPr>
            <a:spLocks noGrp="1"/>
          </p:cNvSpPr>
          <p:nvPr>
            <p:ph type="body" sz="quarter" idx="22"/>
          </p:nvPr>
        </p:nvSpPr>
        <p:spPr>
          <a:xfrm>
            <a:off x="2280567" y="5485848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tekst 5"/>
          <p:cNvSpPr>
            <a:spLocks noGrp="1"/>
          </p:cNvSpPr>
          <p:nvPr>
            <p:ph type="body" sz="quarter" idx="23" hasCustomPrompt="1"/>
          </p:nvPr>
        </p:nvSpPr>
        <p:spPr>
          <a:xfrm>
            <a:off x="604157" y="1642435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9" name="Plassholder for tekst 7"/>
          <p:cNvSpPr>
            <a:spLocks noGrp="1"/>
          </p:cNvSpPr>
          <p:nvPr>
            <p:ph type="body" sz="quarter" idx="25"/>
          </p:nvPr>
        </p:nvSpPr>
        <p:spPr>
          <a:xfrm>
            <a:off x="2280567" y="1633580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Plassholder for tekst 7"/>
          <p:cNvSpPr>
            <a:spLocks noGrp="1"/>
          </p:cNvSpPr>
          <p:nvPr>
            <p:ph type="body" sz="quarter" idx="26"/>
          </p:nvPr>
        </p:nvSpPr>
        <p:spPr>
          <a:xfrm>
            <a:off x="2280567" y="3174487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Plassholder for tekst 7"/>
          <p:cNvSpPr>
            <a:spLocks noGrp="1"/>
          </p:cNvSpPr>
          <p:nvPr>
            <p:ph type="body" sz="quarter" idx="27"/>
          </p:nvPr>
        </p:nvSpPr>
        <p:spPr>
          <a:xfrm>
            <a:off x="2280567" y="3944943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Plassholder for tekst 7"/>
          <p:cNvSpPr>
            <a:spLocks noGrp="1"/>
          </p:cNvSpPr>
          <p:nvPr>
            <p:ph type="body" sz="quarter" idx="28"/>
          </p:nvPr>
        </p:nvSpPr>
        <p:spPr>
          <a:xfrm>
            <a:off x="2280567" y="4715396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Plassholder for tittel 1"/>
          <p:cNvSpPr>
            <a:spLocks noGrp="1"/>
          </p:cNvSpPr>
          <p:nvPr>
            <p:ph type="title"/>
          </p:nvPr>
        </p:nvSpPr>
        <p:spPr>
          <a:xfrm>
            <a:off x="575735" y="830152"/>
            <a:ext cx="11040532" cy="3447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24" name="Plassholder for tekst 5"/>
          <p:cNvSpPr>
            <a:spLocks noGrp="1"/>
          </p:cNvSpPr>
          <p:nvPr>
            <p:ph type="body" sz="quarter" idx="29" hasCustomPrompt="1"/>
          </p:nvPr>
        </p:nvSpPr>
        <p:spPr>
          <a:xfrm>
            <a:off x="604157" y="2410115"/>
            <a:ext cx="1425871" cy="53554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3600" b="1" cap="all" baseline="0">
                <a:solidFill>
                  <a:srgbClr val="1F82BA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25" name="Plassholder for tekst 7"/>
          <p:cNvSpPr>
            <a:spLocks noGrp="1"/>
          </p:cNvSpPr>
          <p:nvPr>
            <p:ph type="body" sz="quarter" idx="30"/>
          </p:nvPr>
        </p:nvSpPr>
        <p:spPr>
          <a:xfrm>
            <a:off x="2280567" y="2404035"/>
            <a:ext cx="9306596" cy="53554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400">
                <a:solidFill>
                  <a:srgbClr val="1F82B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8865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5736" y="4143903"/>
            <a:ext cx="10771723" cy="418576"/>
          </a:xfrm>
        </p:spPr>
        <p:txBody>
          <a:bodyPr anchor="b"/>
          <a:lstStyle>
            <a:lvl1pPr>
              <a:defRPr sz="3400">
                <a:solidFill>
                  <a:srgbClr val="1F82B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75736" y="4589467"/>
            <a:ext cx="10771723" cy="150018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17136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2pPr>
            <a:lvl3pPr marL="342726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3pPr>
            <a:lvl4pPr marL="51409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4pPr>
            <a:lvl5pPr marL="685454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5pPr>
            <a:lvl6pPr marL="856815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6pPr>
            <a:lvl7pPr marL="1028178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7pPr>
            <a:lvl8pPr marL="1199541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8pPr>
            <a:lvl9pPr marL="1370904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77C04-02AC-40EB-9FD3-21C5F45BAF39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723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mere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61942" indent="-361942">
              <a:buFont typeface="+mj-lt"/>
              <a:buAutoNum type="arabicPeriod"/>
              <a:defRPr sz="2000"/>
            </a:lvl1pPr>
            <a:lvl2pPr marL="680228" indent="-342891">
              <a:defRPr lang="nb-NO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463" indent="-273111">
              <a:defRPr lang="nb-NO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8563" indent="-264780" defTabSz="418888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12995" indent="-264780">
              <a:tabLst>
                <a:tab pos="2047427" algn="l"/>
              </a:tabLst>
              <a:defRPr lang="nb-NO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73022-F2F4-42A3-B2CE-362DF15D0B72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5784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7F5A9-955F-478D-8930-BA9E8AB9AC11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47103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A8663D-33EB-4880-BF31-F6B311C6A57C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9441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904E4-954C-4E31-8113-5FAB80CD204E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575735" y="3026179"/>
            <a:ext cx="11040532" cy="29951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5" y="1628776"/>
            <a:ext cx="11040532" cy="11118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20704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9672D-D394-4729-9E7A-6C616A2880F1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2009884"/>
            <a:ext cx="5425019" cy="4011504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1253" y="2009885"/>
            <a:ext cx="5425015" cy="401140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3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425019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191253" y="1639251"/>
            <a:ext cx="5425017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5616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slide med bil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32579" y="2039658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32579" y="3754440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accent2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0339" y="5681609"/>
            <a:ext cx="3701660" cy="1062168"/>
          </a:xfrm>
          <a:prstGeom prst="rect">
            <a:avLst/>
          </a:prstGeom>
        </p:spPr>
      </p:pic>
      <p:sp>
        <p:nvSpPr>
          <p:cNvPr id="6" name="TekstSylinder 5"/>
          <p:cNvSpPr txBox="1"/>
          <p:nvPr userDrawn="1"/>
        </p:nvSpPr>
        <p:spPr>
          <a:xfrm>
            <a:off x="-1874823" y="2"/>
            <a:ext cx="1851024" cy="2553776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defTabSz="913912"/>
            <a:r>
              <a:rPr lang="nb-NO" sz="1333" b="1" dirty="0">
                <a:solidFill>
                  <a:prstClr val="white"/>
                </a:solidFill>
              </a:rPr>
              <a:t>Hvordan sette inn bakgrunnsbilde: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Høyreklikk på lysbildet og velg </a:t>
            </a:r>
            <a:r>
              <a:rPr lang="nb-NO" sz="1333" b="1" dirty="0">
                <a:solidFill>
                  <a:prstClr val="white"/>
                </a:solidFill>
              </a:rPr>
              <a:t>«Formater bakgrunn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Velg </a:t>
            </a:r>
            <a:r>
              <a:rPr lang="nb-NO" sz="1333" b="1" dirty="0">
                <a:solidFill>
                  <a:prstClr val="white"/>
                </a:solidFill>
              </a:rPr>
              <a:t>«Fyll» &gt; «Bilde eller tekstur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Trykk </a:t>
            </a:r>
            <a:r>
              <a:rPr lang="nb-NO" sz="1333" b="1" dirty="0">
                <a:solidFill>
                  <a:prstClr val="white"/>
                </a:solidFill>
              </a:rPr>
              <a:t>«Sett inn fra Fil…»</a:t>
            </a:r>
          </a:p>
          <a:p>
            <a:pPr marL="165092" indent="-165092" defTabSz="913912">
              <a:buFont typeface="+mj-lt"/>
              <a:buAutoNum type="arabicPeriod"/>
            </a:pPr>
            <a:r>
              <a:rPr lang="nb-NO" sz="1333" dirty="0">
                <a:solidFill>
                  <a:prstClr val="white"/>
                </a:solidFill>
              </a:rPr>
              <a:t>Bla deg fram til ønsket bilde</a:t>
            </a:r>
          </a:p>
        </p:txBody>
      </p:sp>
    </p:spTree>
    <p:extLst>
      <p:ext uri="{BB962C8B-B14F-4D97-AF65-F5344CB8AC3E}">
        <p14:creationId xmlns:p14="http://schemas.microsoft.com/office/powerpoint/2010/main" val="38666467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C0AC1-8ED5-4579-A339-773B8DA52B83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425019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191253" y="1639251"/>
            <a:ext cx="5425017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Plassholder for innhold 2"/>
          <p:cNvSpPr>
            <a:spLocks noGrp="1"/>
          </p:cNvSpPr>
          <p:nvPr>
            <p:ph idx="1"/>
          </p:nvPr>
        </p:nvSpPr>
        <p:spPr>
          <a:xfrm>
            <a:off x="575733" y="2009885"/>
            <a:ext cx="5425019" cy="3327291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13"/>
          </p:nvPr>
        </p:nvSpPr>
        <p:spPr>
          <a:xfrm>
            <a:off x="6191253" y="2009886"/>
            <a:ext cx="5425015" cy="332720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5179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D22F18-C839-45B4-B116-8BDB615057E8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4" name="Isosceles Triangle 3"/>
          <p:cNvSpPr/>
          <p:nvPr userDrawn="1"/>
        </p:nvSpPr>
        <p:spPr>
          <a:xfrm rot="5400000">
            <a:off x="4262459" y="3294280"/>
            <a:ext cx="3708403" cy="37739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nb-NO" sz="1800">
              <a:solidFill>
                <a:srgbClr val="7FC6E8"/>
              </a:solidFill>
            </a:endParaRPr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040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573397" y="1639251"/>
            <a:ext cx="5042873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innhold 2"/>
          <p:cNvSpPr>
            <a:spLocks noGrp="1"/>
          </p:cNvSpPr>
          <p:nvPr>
            <p:ph idx="1"/>
          </p:nvPr>
        </p:nvSpPr>
        <p:spPr>
          <a:xfrm>
            <a:off x="575734" y="2009886"/>
            <a:ext cx="5040001" cy="3327375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8" name="Plassholder for innhold 2"/>
          <p:cNvSpPr>
            <a:spLocks noGrp="1"/>
          </p:cNvSpPr>
          <p:nvPr>
            <p:ph idx="13"/>
          </p:nvPr>
        </p:nvSpPr>
        <p:spPr>
          <a:xfrm>
            <a:off x="6573397" y="2009885"/>
            <a:ext cx="5042871" cy="3327291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8105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526E0-087C-489C-82E3-F36178485C97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4" name="Isosceles Triangle 3"/>
          <p:cNvSpPr/>
          <p:nvPr userDrawn="1"/>
        </p:nvSpPr>
        <p:spPr>
          <a:xfrm rot="5400000">
            <a:off x="3919541" y="3637200"/>
            <a:ext cx="4403247" cy="38640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nb-NO" sz="1800">
              <a:solidFill>
                <a:srgbClr val="7FC6E8"/>
              </a:solidFill>
            </a:endParaRPr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040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573397" y="1639251"/>
            <a:ext cx="5042873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innhold 2"/>
          <p:cNvSpPr>
            <a:spLocks noGrp="1"/>
          </p:cNvSpPr>
          <p:nvPr>
            <p:ph idx="1"/>
          </p:nvPr>
        </p:nvSpPr>
        <p:spPr>
          <a:xfrm>
            <a:off x="575734" y="2009884"/>
            <a:ext cx="5040001" cy="4011504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8" name="Plassholder for innhold 2"/>
          <p:cNvSpPr>
            <a:spLocks noGrp="1"/>
          </p:cNvSpPr>
          <p:nvPr>
            <p:ph idx="13"/>
          </p:nvPr>
        </p:nvSpPr>
        <p:spPr>
          <a:xfrm>
            <a:off x="6573397" y="2009885"/>
            <a:ext cx="5042871" cy="401140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>
              <a:defRPr lang="nb-NO" sz="1400" dirty="0" smtClean="0"/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6058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F7DAF-4EF3-49E3-92D8-51D13EAD4C7B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1999253"/>
            <a:ext cx="11040535" cy="40221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3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5" y="1628776"/>
            <a:ext cx="11040532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6381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0675E-F363-40FC-B809-16D943480BE0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1999253"/>
            <a:ext cx="11040535" cy="3337924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3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5" y="1628776"/>
            <a:ext cx="11040532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901700" y="5424249"/>
            <a:ext cx="10388600" cy="520700"/>
          </a:xfr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vert="horz" lIns="72000" tIns="0" rIns="72000" bIns="0" rtlCol="0" anchor="ctr">
            <a:noAutofit/>
          </a:bodyPr>
          <a:lstStyle>
            <a:lvl1pPr>
              <a:defRPr lang="nb-NO" sz="1400" b="0" dirty="0">
                <a:solidFill>
                  <a:prstClr val="black"/>
                </a:solidFill>
              </a:defRPr>
            </a:lvl1pPr>
          </a:lstStyle>
          <a:p>
            <a:pPr marL="0" lvl="0" indent="0" algn="ctr" defTabSz="914377" eaLnBrk="0" hangingPunct="0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10881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B69A0E-4A8F-4C50-8A71-7F51F90F3CB0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1999253"/>
            <a:ext cx="3552003" cy="40221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sz="1400"/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3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24675"/>
            <a:ext cx="3552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7"/>
          </p:nvPr>
        </p:nvSpPr>
        <p:spPr>
          <a:xfrm>
            <a:off x="4303833" y="1999253"/>
            <a:ext cx="3552003" cy="40221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2" name="Plassholder for tekst 8"/>
          <p:cNvSpPr>
            <a:spLocks noGrp="1"/>
          </p:cNvSpPr>
          <p:nvPr>
            <p:ph type="body" sz="quarter" idx="18"/>
          </p:nvPr>
        </p:nvSpPr>
        <p:spPr>
          <a:xfrm>
            <a:off x="4312911" y="1624675"/>
            <a:ext cx="3552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lassholder for innhold 2"/>
          <p:cNvSpPr>
            <a:spLocks noGrp="1"/>
          </p:cNvSpPr>
          <p:nvPr>
            <p:ph idx="19"/>
          </p:nvPr>
        </p:nvSpPr>
        <p:spPr>
          <a:xfrm>
            <a:off x="8031937" y="1999253"/>
            <a:ext cx="3552003" cy="40221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20"/>
          </p:nvPr>
        </p:nvSpPr>
        <p:spPr>
          <a:xfrm>
            <a:off x="8050089" y="1624675"/>
            <a:ext cx="35520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772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8776CB-C6CB-4313-98BB-C9FC8670CD1E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3" y="1999252"/>
            <a:ext cx="5425019" cy="18250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1253" y="1988776"/>
            <a:ext cx="5425015" cy="4032512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nb-NO" sz="1600" dirty="0" smtClean="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nb-NO" sz="1200" dirty="0" smtClean="0"/>
            </a:lvl3pPr>
            <a:lvl4pPr>
              <a:defRPr lang="nb-NO" sz="1100" dirty="0" smtClean="0"/>
            </a:lvl4pPr>
            <a:lvl5pPr>
              <a:defRPr lang="nb-NO" sz="1051" dirty="0"/>
            </a:lvl5pPr>
          </a:lstStyle>
          <a:p>
            <a:pPr marL="177796" lvl="0" indent="-177796"/>
            <a:r>
              <a:rPr lang="en-US" smtClean="0"/>
              <a:t>Click to edit Master text styles</a:t>
            </a:r>
          </a:p>
          <a:p>
            <a:pPr marL="177796" lvl="1" indent="-177796"/>
            <a:r>
              <a:rPr lang="en-US" smtClean="0"/>
              <a:t>Second level</a:t>
            </a:r>
          </a:p>
          <a:p>
            <a:pPr marL="177796" lvl="2" indent="-177796"/>
            <a:r>
              <a:rPr lang="en-US" smtClean="0"/>
              <a:t>Third level</a:t>
            </a:r>
          </a:p>
          <a:p>
            <a:pPr marL="177796" lvl="3" indent="-177796"/>
            <a:r>
              <a:rPr lang="en-US" smtClean="0"/>
              <a:t>Fourth level</a:t>
            </a:r>
          </a:p>
          <a:p>
            <a:pPr marL="177796" lvl="4" indent="-177796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1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sp>
        <p:nvSpPr>
          <p:cNvPr id="12" name="Plassholder for innhold 2"/>
          <p:cNvSpPr>
            <a:spLocks noGrp="1"/>
          </p:cNvSpPr>
          <p:nvPr>
            <p:ph idx="18"/>
          </p:nvPr>
        </p:nvSpPr>
        <p:spPr>
          <a:xfrm>
            <a:off x="589049" y="4194764"/>
            <a:ext cx="5425019" cy="1825037"/>
          </a:xfrm>
        </p:spPr>
        <p:txBody>
          <a:bodyPr>
            <a:normAutofit/>
          </a:bodyPr>
          <a:lstStyle>
            <a:lvl1pPr marL="177796" indent="-177796">
              <a:defRPr sz="1600"/>
            </a:lvl1pPr>
            <a:lvl2pPr marL="355591" indent="-177796">
              <a:defRPr lang="nb-NO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00" indent="-176209">
              <a:defRPr sz="1200"/>
            </a:lvl3pPr>
            <a:lvl4pPr marL="723882" indent="-192083">
              <a:defRPr sz="1100"/>
            </a:lvl4pPr>
            <a:lvl5pPr marL="900091" indent="-176209">
              <a:defRPr sz="105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5" name="Plassholder for tekst 8"/>
          <p:cNvSpPr>
            <a:spLocks noGrp="1"/>
          </p:cNvSpPr>
          <p:nvPr>
            <p:ph type="body" sz="quarter" idx="19"/>
          </p:nvPr>
        </p:nvSpPr>
        <p:spPr>
          <a:xfrm>
            <a:off x="589052" y="3824288"/>
            <a:ext cx="5425017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75733" y="1639251"/>
            <a:ext cx="5425019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lassholder for tekst 8"/>
          <p:cNvSpPr>
            <a:spLocks noGrp="1"/>
          </p:cNvSpPr>
          <p:nvPr>
            <p:ph type="body" sz="quarter" idx="17"/>
          </p:nvPr>
        </p:nvSpPr>
        <p:spPr>
          <a:xfrm>
            <a:off x="6191253" y="1639251"/>
            <a:ext cx="5425017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800" i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83787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0E0936-BF94-4ABD-B8FD-5D668A287724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688031" y="1679887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688031" y="5204359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smtClean="0"/>
            </a:lvl1pPr>
            <a:lvl2pPr>
              <a:defRPr lang="en-US" sz="1100" noProof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688031" y="4323241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smtClean="0"/>
            </a:lvl1pPr>
            <a:lvl2pPr>
              <a:defRPr lang="en-US" sz="1100" noProof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688031" y="3442123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smtClean="0"/>
            </a:lvl1pPr>
            <a:lvl2pPr>
              <a:defRPr lang="en-US" sz="1100" noProof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688031" y="2561005"/>
            <a:ext cx="7928236" cy="741600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200" noProof="0" smtClean="0"/>
            </a:lvl1pPr>
            <a:lvl2pPr>
              <a:defRPr lang="en-US" sz="1100" noProof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575733" y="1628775"/>
            <a:ext cx="2189560" cy="4392615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3077" tIns="43200" rIns="83077" bIns="43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62" fontAlgn="base">
              <a:spcBef>
                <a:spcPct val="50000"/>
              </a:spcBef>
              <a:spcAft>
                <a:spcPct val="0"/>
              </a:spcAft>
            </a:pPr>
            <a:endParaRPr lang="en-US" sz="1292" dirty="0">
              <a:solidFill>
                <a:srgbClr val="005AA4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915452" y="1680884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915452" y="2562002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915452" y="3443119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915452" y="4324238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915452" y="5205356"/>
            <a:ext cx="2688299" cy="740605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2478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B75D0-B52C-40D7-B601-5943AC1E1B14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12445" y="1628775"/>
            <a:ext cx="8903823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83471" y="1628775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dirty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583471" y="3141610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583471" y="4654442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2712445" y="3141610"/>
            <a:ext cx="8903823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4"/>
          </p:nvPr>
        </p:nvSpPr>
        <p:spPr>
          <a:xfrm>
            <a:off x="2712445" y="4654442"/>
            <a:ext cx="8903823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190207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31EC9-DDFF-46FD-A068-CAD9300019C1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12443" y="1628775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83471" y="1628775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dirty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583471" y="3141610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583471" y="4654442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2712443" y="3141610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4"/>
          </p:nvPr>
        </p:nvSpPr>
        <p:spPr>
          <a:xfrm>
            <a:off x="2712443" y="4654442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8338695" y="1625195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6209723" y="1625195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dirty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6209723" y="3138030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8"/>
          </p:nvPr>
        </p:nvSpPr>
        <p:spPr>
          <a:xfrm>
            <a:off x="6209723" y="4650862"/>
            <a:ext cx="1920000" cy="1370527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 vert="horz" lIns="72000" tIns="0" rIns="72000" bIns="0" rtlCol="0" anchor="ctr" anchorCtr="0">
            <a:normAutofit/>
          </a:bodyPr>
          <a:lstStyle>
            <a:lvl1pPr>
              <a:defRPr lang="en-US" sz="1400" b="0" noProof="0" smtClean="0">
                <a:solidFill>
                  <a:srgbClr val="FFFFFF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8338695" y="3138030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0"/>
          </p:nvPr>
        </p:nvSpPr>
        <p:spPr>
          <a:xfrm>
            <a:off x="8338695" y="4650862"/>
            <a:ext cx="3288308" cy="1370527"/>
          </a:xfr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rtlCol="0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sz="1200" noProof="0" dirty="0" smtClean="0"/>
            </a:lvl1pPr>
            <a:lvl2pPr>
              <a:defRPr lang="en-US" sz="1100" noProof="0" dirty="0" smtClean="0"/>
            </a:lvl2pPr>
          </a:lstStyle>
          <a:p>
            <a:pPr marL="168520" lvl="0" indent="-168520"/>
            <a:r>
              <a:rPr lang="en-US" noProof="0" smtClean="0"/>
              <a:t>Click to edit Master text styles</a:t>
            </a:r>
          </a:p>
          <a:p>
            <a:pPr marL="168520" lvl="1" indent="-168520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3092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a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"/>
            <a:ext cx="804741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106" y="2001854"/>
            <a:ext cx="7028252" cy="1487308"/>
          </a:xfrm>
        </p:spPr>
        <p:txBody>
          <a:bodyPr anchor="t" anchorCtr="0">
            <a:normAutofit/>
          </a:bodyPr>
          <a:lstStyle>
            <a:lvl1pPr algn="ctr">
              <a:defRPr sz="4933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106" y="3670662"/>
            <a:ext cx="7028252" cy="469305"/>
          </a:xfrm>
        </p:spPr>
        <p:txBody>
          <a:bodyPr wrap="square">
            <a:spAutoFit/>
          </a:bodyPr>
          <a:lstStyle>
            <a:lvl1pPr marL="0" indent="0" algn="ctr">
              <a:buNone/>
              <a:defRPr sz="3067">
                <a:solidFill>
                  <a:schemeClr val="bg1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0" hasCustomPrompt="1"/>
          </p:nvPr>
        </p:nvSpPr>
        <p:spPr>
          <a:xfrm>
            <a:off x="8047532" y="0"/>
            <a:ext cx="4144472" cy="6858000"/>
          </a:xfrm>
          <a:solidFill>
            <a:schemeClr val="bg2"/>
          </a:solidFill>
        </p:spPr>
        <p:txBody>
          <a:bodyPr bIns="1349415" anchor="ctr" anchorCtr="1"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616" y="5541237"/>
            <a:ext cx="2939525" cy="84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4425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i blåt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6"/>
          <p:cNvSpPr/>
          <p:nvPr userDrawn="1"/>
        </p:nvSpPr>
        <p:spPr>
          <a:xfrm>
            <a:off x="3" y="-17027"/>
            <a:ext cx="6095999" cy="68750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76" rIns="68557" bIns="34276" rtlCol="0" anchor="ctr"/>
          <a:lstStyle/>
          <a:p>
            <a:pPr algn="ctr" defTabSz="914377"/>
            <a:endParaRPr lang="nb-NO" sz="2775">
              <a:solidFill>
                <a:srgbClr val="7FC6E8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67932" y="2550923"/>
            <a:ext cx="4793711" cy="344711"/>
          </a:xfrm>
        </p:spPr>
        <p:txBody>
          <a:bodyPr anchor="t" anchorCtr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745885" y="995531"/>
            <a:ext cx="4794491" cy="5104487"/>
          </a:xfrm>
        </p:spPr>
        <p:txBody>
          <a:bodyPr/>
          <a:lstStyle>
            <a:lvl2pPr marL="355591" indent="-177796">
              <a:defRPr lang="nb-NO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84124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2095608" y="1724617"/>
            <a:ext cx="8004321" cy="30891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5" tIns="17137" rIns="34275" bIns="17137" rtlCol="0" anchor="ctr"/>
          <a:lstStyle/>
          <a:p>
            <a:pPr algn="ctr" defTabSz="914377"/>
            <a:endParaRPr lang="nb-NO" sz="1500">
              <a:solidFill>
                <a:srgbClr val="7FC6E8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898555" y="2286293"/>
            <a:ext cx="6689951" cy="2158713"/>
          </a:xfrm>
        </p:spPr>
        <p:txBody>
          <a:bodyPr anchor="t" anchorCtr="0">
            <a:normAutofit/>
          </a:bodyPr>
          <a:lstStyle>
            <a:lvl1pPr>
              <a:defRPr sz="3700" b="1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016516E-F3FD-42FA-A8CC-F7F3E5EE06BD}" type="datetime1">
              <a:rPr lang="nb-NO" smtClean="0">
                <a:solidFill>
                  <a:prstClr val="black"/>
                </a:solidFill>
              </a:rPr>
              <a:t>14.01.2020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prstClr val="black"/>
                </a:solidFill>
              </a:rPr>
              <a:t>Lederforum</a:t>
            </a:r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pic>
        <p:nvPicPr>
          <p:cNvPr id="9" name="Bilde 8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4537" y="1292057"/>
            <a:ext cx="1011200" cy="758400"/>
          </a:xfrm>
          <a:prstGeom prst="rect">
            <a:avLst/>
          </a:prstGeom>
        </p:spPr>
      </p:pic>
      <p:sp>
        <p:nvSpPr>
          <p:cNvPr id="10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08841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843">
          <p15:clr>
            <a:srgbClr val="FBAE40"/>
          </p15:clr>
        </p15:guide>
        <p15:guide id="2" pos="1208">
          <p15:clr>
            <a:srgbClr val="FBAE40"/>
          </p15:clr>
        </p15:guide>
        <p15:guide id="3" orient="horz" pos="926">
          <p15:clr>
            <a:srgbClr val="FBAE40"/>
          </p15:clr>
        </p15:guide>
        <p15:guide id="4" orient="horz" pos="44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F4F922-7709-457E-BFB2-6D20A6553AB0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62455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6"/>
          <p:cNvSpPr/>
          <p:nvPr userDrawn="1"/>
        </p:nvSpPr>
        <p:spPr>
          <a:xfrm>
            <a:off x="3" y="-17027"/>
            <a:ext cx="12191999" cy="68750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76" rIns="68557" bIns="34276" rtlCol="0" anchor="ctr"/>
          <a:lstStyle/>
          <a:p>
            <a:pPr algn="ctr" defTabSz="914377"/>
            <a:endParaRPr lang="nb-NO" sz="2775">
              <a:solidFill>
                <a:srgbClr val="7FC6E8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1660320" y="2563527"/>
            <a:ext cx="8862587" cy="1976015"/>
          </a:xfrm>
        </p:spPr>
        <p:txBody>
          <a:bodyPr anchor="t" anchorCtr="0">
            <a:noAutofit/>
          </a:bodyPr>
          <a:lstStyle>
            <a:lvl1pPr algn="ctr">
              <a:defRPr sz="7500" b="1">
                <a:solidFill>
                  <a:srgbClr val="FFFFFF"/>
                </a:solidFill>
              </a:defRPr>
            </a:lvl1pPr>
          </a:lstStyle>
          <a:p>
            <a:r>
              <a:rPr lang="nb-NO" dirty="0" smtClean="0"/>
              <a:t>Tekst</a:t>
            </a:r>
            <a:endParaRPr lang="nb-NO" dirty="0"/>
          </a:p>
        </p:txBody>
      </p:sp>
      <p:pic>
        <p:nvPicPr>
          <p:cNvPr id="5" name="Picture 4" descr="rgb_SB1_BV_verti_ne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723" y="5373218"/>
            <a:ext cx="4943872" cy="106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3019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0AA4AE-1668-4B7F-A562-B65F49A8A98B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75736" y="1628776"/>
            <a:ext cx="5425017" cy="43926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6191253" y="1628777"/>
            <a:ext cx="5425015" cy="4392513"/>
          </a:xfrm>
          <a:solidFill>
            <a:schemeClr val="bg2"/>
          </a:solidFill>
        </p:spPr>
        <p:txBody>
          <a:bodyPr bIns="899566" anchor="ctr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nb-NO" dirty="0"/>
          </a:p>
        </p:txBody>
      </p:sp>
      <p:sp>
        <p:nvSpPr>
          <p:cNvPr id="10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4013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31486" y="691290"/>
            <a:ext cx="4793711" cy="344711"/>
          </a:xfrm>
        </p:spPr>
        <p:txBody>
          <a:bodyPr anchor="t" anchorCtr="0"/>
          <a:lstStyle>
            <a:lvl1pPr>
              <a:defRPr>
                <a:solidFill>
                  <a:srgbClr val="1F82B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4EEF2-A406-4277-83CD-385137A9B997}" type="datetime1">
              <a:rPr lang="nb-NO" smtClean="0">
                <a:solidFill>
                  <a:srgbClr val="7FC6E8"/>
                </a:solidFill>
              </a:rPr>
              <a:t>14.01.2020</a:t>
            </a:fld>
            <a:endParaRPr lang="nb-NO">
              <a:solidFill>
                <a:srgbClr val="7FC6E8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srgbClr val="7FC6E8"/>
                </a:solidFill>
              </a:rPr>
              <a:t>Lederforum</a:t>
            </a:r>
            <a:endParaRPr lang="nb-NO">
              <a:solidFill>
                <a:srgbClr val="7FC6E8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srgbClr val="7FC6E8"/>
                </a:solidFill>
              </a:rPr>
              <a:pPr/>
              <a:t>‹#›</a:t>
            </a:fld>
            <a:endParaRPr lang="nb-NO">
              <a:solidFill>
                <a:srgbClr val="7FC6E8"/>
              </a:solidFill>
            </a:endParaRP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731481" y="2385299"/>
            <a:ext cx="4794491" cy="37387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 hasCustomPrompt="1"/>
          </p:nvPr>
        </p:nvSpPr>
        <p:spPr>
          <a:xfrm>
            <a:off x="3" y="0"/>
            <a:ext cx="6095996" cy="6858000"/>
          </a:xfrm>
          <a:prstGeom prst="rect">
            <a:avLst/>
          </a:prstGeom>
          <a:solidFill>
            <a:schemeClr val="bg2"/>
          </a:solidFill>
        </p:spPr>
        <p:txBody>
          <a:bodyPr lIns="45699" tIns="22849" rIns="45699" bIns="1799130" anchor="ctr" anchorCtr="1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5703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D94EA-779D-4F20-9E4C-2D1F8E2F43AA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75735" y="1628776"/>
            <a:ext cx="11040532" cy="4392613"/>
          </a:xfrm>
          <a:solidFill>
            <a:schemeClr val="bg2"/>
          </a:solidFill>
        </p:spPr>
        <p:txBody>
          <a:bodyPr bIns="899566" anchor="ctr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3149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lide m sirkel og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6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1799640" bIns="0" anchor="ctr" anchorCtr="1">
            <a:normAutofit/>
          </a:bodyPr>
          <a:lstStyle>
            <a:lvl1pPr marL="0" indent="0">
              <a:buNone/>
              <a:defRPr sz="1800" baseline="0"/>
            </a:lvl1pPr>
          </a:lstStyle>
          <a:p>
            <a:r>
              <a:rPr lang="en-US" dirty="0" smtClean="0"/>
              <a:t>Sett inn </a:t>
            </a:r>
            <a:r>
              <a:rPr lang="en-US" dirty="0" err="1" smtClean="0"/>
              <a:t>bild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916258" y="5826655"/>
            <a:ext cx="6043319" cy="286360"/>
          </a:xfrm>
        </p:spPr>
        <p:txBody>
          <a:bodyPr>
            <a:normAutofit/>
          </a:bodyPr>
          <a:lstStyle>
            <a:lvl1pPr marL="0" indent="0" algn="l">
              <a:buNone/>
              <a:defRPr sz="1400" b="1">
                <a:solidFill>
                  <a:schemeClr val="tx1"/>
                </a:solidFill>
              </a:defRPr>
            </a:lvl1pPr>
            <a:lvl2pPr marL="171346" indent="0" algn="ctr">
              <a:buNone/>
              <a:defRPr sz="800"/>
            </a:lvl2pPr>
            <a:lvl3pPr marL="342691" indent="0" algn="ctr">
              <a:buNone/>
              <a:defRPr sz="700"/>
            </a:lvl3pPr>
            <a:lvl4pPr marL="514038" indent="0" algn="ctr">
              <a:buNone/>
              <a:defRPr sz="600"/>
            </a:lvl4pPr>
            <a:lvl5pPr marL="685382" indent="0" algn="ctr">
              <a:buNone/>
              <a:defRPr sz="600"/>
            </a:lvl5pPr>
            <a:lvl6pPr marL="856729" indent="0" algn="ctr">
              <a:buNone/>
              <a:defRPr sz="600"/>
            </a:lvl6pPr>
            <a:lvl7pPr marL="1028074" indent="0" algn="ctr">
              <a:buNone/>
              <a:defRPr sz="600"/>
            </a:lvl7pPr>
            <a:lvl8pPr marL="1199421" indent="0" algn="ctr">
              <a:buNone/>
              <a:defRPr sz="600"/>
            </a:lvl8pPr>
            <a:lvl9pPr marL="1370766" indent="0" algn="ctr">
              <a:buNone/>
              <a:defRPr sz="600"/>
            </a:lvl9pPr>
          </a:lstStyle>
          <a:p>
            <a:r>
              <a:rPr lang="nb-NO" dirty="0" smtClean="0"/>
              <a:t>Navn </a:t>
            </a:r>
            <a:r>
              <a:rPr lang="nb-NO" dirty="0" err="1" smtClean="0"/>
              <a:t>Navnesen</a:t>
            </a:r>
            <a:endParaRPr lang="nb-NO" dirty="0"/>
          </a:p>
        </p:txBody>
      </p:sp>
      <p:sp>
        <p:nvSpPr>
          <p:cNvPr id="10" name="Ellipse 9"/>
          <p:cNvSpPr>
            <a:spLocks/>
          </p:cNvSpPr>
          <p:nvPr userDrawn="1"/>
        </p:nvSpPr>
        <p:spPr>
          <a:xfrm>
            <a:off x="761445" y="1418197"/>
            <a:ext cx="4503371" cy="337820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2" tIns="17135" rIns="34272" bIns="17135" rtlCol="0" anchor="ctr"/>
          <a:lstStyle/>
          <a:p>
            <a:pPr algn="ctr" defTabSz="914377"/>
            <a:endParaRPr lang="nb-NO" sz="1400">
              <a:solidFill>
                <a:srgbClr val="7FC6E8"/>
              </a:solidFill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 hasCustomPrompt="1"/>
          </p:nvPr>
        </p:nvSpPr>
        <p:spPr>
          <a:xfrm>
            <a:off x="916255" y="2268024"/>
            <a:ext cx="4208304" cy="1197011"/>
          </a:xfrm>
        </p:spPr>
        <p:txBody>
          <a:bodyPr lIns="269946" rIns="269946" anchor="t" anchorCtr="0">
            <a:normAutofit/>
          </a:bodyPr>
          <a:lstStyle>
            <a:lvl1pPr algn="l">
              <a:defRPr sz="3400" b="1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Tittel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916257" y="6113015"/>
            <a:ext cx="6043219" cy="5674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 smtClean="0"/>
              <a:t>Tittel og avdeling</a:t>
            </a:r>
            <a:endParaRPr lang="nb-NO" dirty="0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915931" y="3465034"/>
            <a:ext cx="4208631" cy="829945"/>
          </a:xfrm>
        </p:spPr>
        <p:txBody>
          <a:bodyPr lIns="269946" rIns="269946">
            <a:norm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Undertittel</a:t>
            </a:r>
          </a:p>
        </p:txBody>
      </p:sp>
      <p:pic>
        <p:nvPicPr>
          <p:cNvPr id="12" name="Picture 11" descr="rgb_SB1_BV_verti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363" y="6165304"/>
            <a:ext cx="2549359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2043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890437" y="6503988"/>
            <a:ext cx="525785" cy="1538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3E770B8-F5B9-46D8-8F91-2D2E423C8B0E}" type="datetime1">
              <a:rPr lang="nb-NO" smtClean="0">
                <a:solidFill>
                  <a:srgbClr val="000000"/>
                </a:solidFill>
              </a:rPr>
              <a:t>14.01.2020</a:t>
            </a:fld>
            <a:endParaRPr lang="nb-NO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292854" y="6503988"/>
            <a:ext cx="408767" cy="1538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0000"/>
                </a:solidFill>
              </a:rPr>
              <a:t>Side </a:t>
            </a:r>
            <a:fld id="{25DAC9E2-A06D-4D60-97CD-C6A0458E6D32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333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0680" y="6441947"/>
            <a:ext cx="525785" cy="153888"/>
          </a:xfrm>
        </p:spPr>
        <p:txBody>
          <a:bodyPr/>
          <a:lstStyle/>
          <a:p>
            <a:fld id="{335B5D83-B5C3-4A1B-87C0-74761293ECC4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>
              <a:solidFill>
                <a:srgbClr val="4454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4141-8841-40C3-BC48-E59BF2004B73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550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aoverskri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4585" y="-1314"/>
            <a:ext cx="8047417" cy="686062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680891" y="2001854"/>
            <a:ext cx="7028252" cy="1487308"/>
          </a:xfrm>
        </p:spPr>
        <p:txBody>
          <a:bodyPr anchor="t" anchorCtr="0">
            <a:noAutofit/>
          </a:bodyPr>
          <a:lstStyle>
            <a:lvl1pPr algn="ctr">
              <a:defRPr sz="4933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680891" y="3670662"/>
            <a:ext cx="7028252" cy="469305"/>
          </a:xfrm>
        </p:spPr>
        <p:txBody>
          <a:bodyPr wrap="square">
            <a:spAutoFit/>
          </a:bodyPr>
          <a:lstStyle>
            <a:lvl1pPr marL="0" indent="0" algn="ctr">
              <a:buNone/>
              <a:defRPr sz="3067">
                <a:solidFill>
                  <a:schemeClr val="bg1"/>
                </a:solidFill>
              </a:defRPr>
            </a:lvl1pPr>
            <a:lvl2pPr marL="228490" indent="0" algn="ctr">
              <a:buNone/>
              <a:defRPr sz="1067"/>
            </a:lvl2pPr>
            <a:lvl3pPr marL="456979" indent="0" algn="ctr">
              <a:buNone/>
              <a:defRPr sz="933"/>
            </a:lvl3pPr>
            <a:lvl4pPr marL="685470" indent="0" algn="ctr">
              <a:buNone/>
              <a:defRPr sz="800"/>
            </a:lvl4pPr>
            <a:lvl5pPr marL="913957" indent="0" algn="ctr">
              <a:buNone/>
              <a:defRPr sz="800"/>
            </a:lvl5pPr>
            <a:lvl6pPr marL="1142446" indent="0" algn="ctr">
              <a:buNone/>
              <a:defRPr sz="800"/>
            </a:lvl6pPr>
            <a:lvl7pPr marL="1370936" indent="0" algn="ctr">
              <a:buNone/>
              <a:defRPr sz="800"/>
            </a:lvl7pPr>
            <a:lvl8pPr marL="1599427" indent="0" algn="ctr">
              <a:buNone/>
              <a:defRPr sz="800"/>
            </a:lvl8pPr>
            <a:lvl9pPr marL="1827917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4144472" cy="6881267"/>
          </a:xfrm>
          <a:solidFill>
            <a:schemeClr val="bg2"/>
          </a:solidFill>
        </p:spPr>
        <p:txBody>
          <a:bodyPr bIns="1349415" anchor="ctr" anchorCtr="1"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  <p:pic>
        <p:nvPicPr>
          <p:cNvPr id="8" name="Bil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6108" y="5541237"/>
            <a:ext cx="2939525" cy="84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7736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4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5735" y="1628775"/>
            <a:ext cx="11040533" cy="43926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9A96-4E8C-457E-B9DA-5FAD5B671E02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558299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2">
          <p15:clr>
            <a:srgbClr val="FBAE40"/>
          </p15:clr>
        </p15:guide>
        <p15:guide id="3" pos="54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5735" y="1628775"/>
            <a:ext cx="11040533" cy="43926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8B0A5-5A07-45C7-9531-5A3D2BB49B90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589050" y="6032022"/>
            <a:ext cx="11013041" cy="133799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695832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2">
          <p15:clr>
            <a:srgbClr val="FBAE40"/>
          </p15:clr>
        </p15:guide>
        <p15:guide id="3" pos="548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e Agere 5 tema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04336" y="1541381"/>
            <a:ext cx="8006416" cy="828001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dirty="0" smtClean="0"/>
            </a:lvl1pPr>
            <a:lvl2pPr>
              <a:defRPr lang="en-US" sz="1015" noProof="0" dirty="0" smtClean="0"/>
            </a:lvl2pPr>
          </a:lstStyle>
          <a:p>
            <a:pPr marL="155561" lvl="0" indent="-155561"/>
            <a:r>
              <a:rPr lang="en-US" noProof="0" dirty="0" smtClean="0"/>
              <a:t>Click to edit Master text styles</a:t>
            </a:r>
          </a:p>
          <a:p>
            <a:pPr marL="155561" lvl="1" indent="-155561"/>
            <a:r>
              <a:rPr lang="en-US" noProof="0" dirty="0" smtClean="0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404336" y="5214973"/>
            <a:ext cx="8006416" cy="828001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smtClean="0"/>
            </a:lvl1pPr>
            <a:lvl2pPr>
              <a:defRPr lang="en-US" sz="1015" noProof="0" smtClean="0"/>
            </a:lvl2pPr>
          </a:lstStyle>
          <a:p>
            <a:pPr marL="155561" lvl="0" indent="-155561"/>
            <a:r>
              <a:rPr lang="en-US" noProof="0" dirty="0" smtClean="0"/>
              <a:t>Click to edit Master text styles</a:t>
            </a:r>
          </a:p>
          <a:p>
            <a:pPr marL="155561" lvl="1" indent="-155561"/>
            <a:r>
              <a:rPr lang="en-US" noProof="0" dirty="0" smtClean="0"/>
              <a:t>Secon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04336" y="4296572"/>
            <a:ext cx="8006416" cy="828000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smtClean="0"/>
            </a:lvl1pPr>
            <a:lvl2pPr>
              <a:defRPr lang="en-US" sz="1015" noProof="0" smtClean="0"/>
            </a:lvl2pPr>
          </a:lstStyle>
          <a:p>
            <a:pPr marL="155561" lvl="0" indent="-155561"/>
            <a:r>
              <a:rPr lang="en-US" noProof="0" dirty="0" smtClean="0"/>
              <a:t>Click to edit Master text styles</a:t>
            </a:r>
          </a:p>
          <a:p>
            <a:pPr marL="155561" lvl="1" indent="-155561"/>
            <a:r>
              <a:rPr lang="en-US" noProof="0" dirty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404336" y="3378175"/>
            <a:ext cx="8006416" cy="828000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smtClean="0"/>
            </a:lvl1pPr>
            <a:lvl2pPr>
              <a:defRPr lang="en-US" sz="1015" noProof="0" smtClean="0"/>
            </a:lvl2pPr>
          </a:lstStyle>
          <a:p>
            <a:pPr marL="155561" lvl="0" indent="-155561"/>
            <a:r>
              <a:rPr lang="en-US" noProof="0" smtClean="0"/>
              <a:t>Click to edit Master text styles</a:t>
            </a:r>
          </a:p>
          <a:p>
            <a:pPr marL="155561" lvl="1" indent="-155561"/>
            <a:r>
              <a:rPr lang="en-US" noProof="0" smtClean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404336" y="2459779"/>
            <a:ext cx="8006416" cy="828000"/>
          </a:xfr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2000" tIns="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en-US" sz="1108" noProof="0" smtClean="0"/>
            </a:lvl1pPr>
            <a:lvl2pPr>
              <a:defRPr lang="en-US" sz="1015" noProof="0" smtClean="0"/>
            </a:lvl2pPr>
          </a:lstStyle>
          <a:p>
            <a:pPr marL="155561" lvl="0" indent="-155561"/>
            <a:r>
              <a:rPr lang="en-US" noProof="0" smtClean="0"/>
              <a:t>Click to edit Master text styles</a:t>
            </a:r>
          </a:p>
          <a:p>
            <a:pPr marL="155561" lvl="1" indent="-155561"/>
            <a:r>
              <a:rPr lang="en-US" noProof="0" smtClean="0"/>
              <a:t>Second level</a:t>
            </a:r>
          </a:p>
        </p:txBody>
      </p:sp>
      <p:sp>
        <p:nvSpPr>
          <p:cNvPr id="9" name="Rectangle 8"/>
          <p:cNvSpPr/>
          <p:nvPr userDrawn="1"/>
        </p:nvSpPr>
        <p:spPr bwMode="invGray">
          <a:xfrm>
            <a:off x="778487" y="1484784"/>
            <a:ext cx="1774092" cy="4608512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6687" tIns="39877" rIns="76687" bIns="398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79154" fontAlgn="base">
              <a:spcBef>
                <a:spcPct val="50000"/>
              </a:spcBef>
              <a:spcAft>
                <a:spcPct val="0"/>
              </a:spcAft>
            </a:pPr>
            <a:endParaRPr lang="en-US" sz="1193" dirty="0">
              <a:solidFill>
                <a:srgbClr val="005AA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845032" y="1541380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845032" y="2459779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845032" y="3378175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845032" y="4296572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845032" y="5214971"/>
            <a:ext cx="2481507" cy="8280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txBody>
          <a:bodyPr lIns="72000" rIns="72000" anchor="ctr"/>
          <a:lstStyle>
            <a:lvl1pPr marL="0" indent="0" algn="ctr">
              <a:buNone/>
              <a:defRPr sz="12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40849" y="6441947"/>
            <a:ext cx="525785" cy="153888"/>
          </a:xfrm>
        </p:spPr>
        <p:txBody>
          <a:bodyPr/>
          <a:lstStyle/>
          <a:p>
            <a:fld id="{03AEDB0C-7F6F-48D3-94A8-B312D6188C5B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1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1535503" y="6441947"/>
            <a:ext cx="7888869" cy="153888"/>
          </a:xfrm>
        </p:spPr>
        <p:txBody>
          <a:bodyPr/>
          <a:lstStyle/>
          <a:p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1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293420" y="6441947"/>
            <a:ext cx="153888" cy="153888"/>
          </a:xfrm>
        </p:spPr>
        <p:txBody>
          <a:bodyPr/>
          <a:lstStyle/>
          <a:p>
            <a:fld id="{C8015E39-59DC-48A0-9676-AD2CAF5CD29F}" type="slidenum">
              <a:rPr lang="nb-NO" smtClean="0">
                <a:solidFill>
                  <a:srgbClr val="44546A"/>
                </a:solidFill>
              </a:rPr>
              <a:pPr/>
              <a:t>‹#›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81253" y="6165304"/>
            <a:ext cx="10629499" cy="154800"/>
          </a:xfrm>
        </p:spPr>
        <p:txBody>
          <a:bodyPr anchor="ctr">
            <a:normAutofit/>
          </a:bodyPr>
          <a:lstStyle>
            <a:lvl1pPr marL="0" indent="0">
              <a:buNone/>
              <a:defRPr sz="923"/>
            </a:lvl1pPr>
          </a:lstStyle>
          <a:p>
            <a:r>
              <a:rPr lang="nb-NO" dirty="0" smtClean="0"/>
              <a:t>K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0457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slide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9" y="-1314"/>
            <a:ext cx="12193057" cy="6860627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481" y="5681666"/>
            <a:ext cx="3700520" cy="1061841"/>
          </a:xfrm>
          <a:prstGeom prst="rect">
            <a:avLst/>
          </a:prstGeom>
        </p:spPr>
      </p:pic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448163" y="3754439"/>
            <a:ext cx="9144000" cy="530853"/>
          </a:xfrm>
        </p:spPr>
        <p:txBody>
          <a:bodyPr>
            <a:spAutoFit/>
          </a:bodyPr>
          <a:lstStyle>
            <a:lvl1pPr marL="0" indent="0" algn="l">
              <a:buNone/>
              <a:defRPr sz="3467">
                <a:solidFill>
                  <a:schemeClr val="bg1"/>
                </a:solidFill>
              </a:defRPr>
            </a:lvl1pPr>
            <a:lvl2pPr marL="228496" indent="0" algn="ctr">
              <a:buNone/>
              <a:defRPr sz="1067"/>
            </a:lvl2pPr>
            <a:lvl3pPr marL="456991" indent="0" algn="ctr">
              <a:buNone/>
              <a:defRPr sz="933"/>
            </a:lvl3pPr>
            <a:lvl4pPr marL="685487" indent="0" algn="ctr">
              <a:buNone/>
              <a:defRPr sz="800"/>
            </a:lvl4pPr>
            <a:lvl5pPr marL="913980" indent="0" algn="ctr">
              <a:buNone/>
              <a:defRPr sz="800"/>
            </a:lvl5pPr>
            <a:lvl6pPr marL="1142475" indent="0" algn="ctr">
              <a:buNone/>
              <a:defRPr sz="800"/>
            </a:lvl6pPr>
            <a:lvl7pPr marL="1370971" indent="0" algn="ctr">
              <a:buNone/>
              <a:defRPr sz="800"/>
            </a:lvl7pPr>
            <a:lvl8pPr marL="1599467" indent="0" algn="ctr">
              <a:buNone/>
              <a:defRPr sz="800"/>
            </a:lvl8pPr>
            <a:lvl9pPr marL="1827962" indent="0" algn="ctr">
              <a:buNone/>
              <a:defRPr sz="8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2448163" y="2039657"/>
            <a:ext cx="9144000" cy="1654407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576039" y="1998000"/>
            <a:ext cx="1566101" cy="15660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57105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88">
          <p15:clr>
            <a:srgbClr val="FBAE40"/>
          </p15:clr>
        </p15:guide>
        <p15:guide id="2" pos="1011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9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tat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92616" y="1724895"/>
            <a:ext cx="8006773" cy="308890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898552" y="2286290"/>
            <a:ext cx="6689949" cy="2158713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90679" y="6441947"/>
            <a:ext cx="671124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A289F7-AB34-4FED-873D-14ED13FF9F90}" type="datetime1">
              <a:rPr lang="nb-NO" smtClean="0">
                <a:solidFill>
                  <a:prstClr val="black"/>
                </a:solidFill>
              </a:rPr>
              <a:t>14.01.2020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dirty="0" smtClean="0">
                <a:solidFill>
                  <a:prstClr val="black"/>
                </a:solidFill>
              </a:rPr>
              <a:t>Lederforum</a:t>
            </a:r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2898554" y="5049636"/>
            <a:ext cx="7103351" cy="642509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4541" y="952320"/>
            <a:ext cx="1008031" cy="1010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2753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40848" y="6441947"/>
            <a:ext cx="589905" cy="153888"/>
          </a:xfrm>
        </p:spPr>
        <p:txBody>
          <a:bodyPr/>
          <a:lstStyle>
            <a:lvl1pPr>
              <a:defRPr sz="1000"/>
            </a:lvl1pPr>
          </a:lstStyle>
          <a:p>
            <a:fld id="{12525069-639F-4B72-BFC8-324B8AE54FCE}" type="datetime1">
              <a:rPr lang="nb-NO" smtClean="0">
                <a:solidFill>
                  <a:srgbClr val="032A74"/>
                </a:solidFill>
              </a:rPr>
              <a:pPr/>
              <a:t>14.01.2020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4668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33369-DC5B-4BFE-B25B-C0BA14D1AE6E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81252" y="3026177"/>
            <a:ext cx="10629797" cy="297037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781252" y="1660529"/>
            <a:ext cx="10629499" cy="10801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259938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545D0-27D2-46C7-839B-FB60FAAE714D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781256" y="1660527"/>
            <a:ext cx="4793711" cy="433288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616257" y="1660527"/>
            <a:ext cx="4794491" cy="433288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2958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image" Target="../media/image87.png"/><Relationship Id="rId21" Type="http://schemas.openxmlformats.org/officeDocument/2006/relationships/slideLayout" Target="../slideLayouts/slideLayout21.xml"/><Relationship Id="rId42" Type="http://schemas.openxmlformats.org/officeDocument/2006/relationships/image" Target="../media/image12.png"/><Relationship Id="rId47" Type="http://schemas.openxmlformats.org/officeDocument/2006/relationships/image" Target="../media/image17.png"/><Relationship Id="rId63" Type="http://schemas.openxmlformats.org/officeDocument/2006/relationships/image" Target="../media/image33.png"/><Relationship Id="rId68" Type="http://schemas.openxmlformats.org/officeDocument/2006/relationships/image" Target="../media/image38.png"/><Relationship Id="rId84" Type="http://schemas.openxmlformats.org/officeDocument/2006/relationships/image" Target="../media/image54.png"/><Relationship Id="rId89" Type="http://schemas.openxmlformats.org/officeDocument/2006/relationships/image" Target="../media/image59.png"/><Relationship Id="rId112" Type="http://schemas.openxmlformats.org/officeDocument/2006/relationships/image" Target="../media/image82.png"/><Relationship Id="rId16" Type="http://schemas.openxmlformats.org/officeDocument/2006/relationships/slideLayout" Target="../slideLayouts/slideLayout16.xml"/><Relationship Id="rId107" Type="http://schemas.openxmlformats.org/officeDocument/2006/relationships/image" Target="../media/image77.png"/><Relationship Id="rId11" Type="http://schemas.openxmlformats.org/officeDocument/2006/relationships/slideLayout" Target="../slideLayouts/slideLayout11.xml"/><Relationship Id="rId32" Type="http://schemas.openxmlformats.org/officeDocument/2006/relationships/image" Target="../media/image2.png"/><Relationship Id="rId37" Type="http://schemas.openxmlformats.org/officeDocument/2006/relationships/image" Target="../media/image7.png"/><Relationship Id="rId53" Type="http://schemas.openxmlformats.org/officeDocument/2006/relationships/image" Target="../media/image23.png"/><Relationship Id="rId58" Type="http://schemas.openxmlformats.org/officeDocument/2006/relationships/image" Target="../media/image28.png"/><Relationship Id="rId74" Type="http://schemas.openxmlformats.org/officeDocument/2006/relationships/image" Target="../media/image44.png"/><Relationship Id="rId79" Type="http://schemas.openxmlformats.org/officeDocument/2006/relationships/image" Target="../media/image49.png"/><Relationship Id="rId102" Type="http://schemas.openxmlformats.org/officeDocument/2006/relationships/image" Target="../media/image72.png"/><Relationship Id="rId123" Type="http://schemas.openxmlformats.org/officeDocument/2006/relationships/image" Target="../media/image93.png"/><Relationship Id="rId5" Type="http://schemas.openxmlformats.org/officeDocument/2006/relationships/slideLayout" Target="../slideLayouts/slideLayout5.xml"/><Relationship Id="rId90" Type="http://schemas.openxmlformats.org/officeDocument/2006/relationships/image" Target="../media/image60.png"/><Relationship Id="rId95" Type="http://schemas.openxmlformats.org/officeDocument/2006/relationships/image" Target="../media/image65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5.png"/><Relationship Id="rId43" Type="http://schemas.openxmlformats.org/officeDocument/2006/relationships/image" Target="../media/image13.png"/><Relationship Id="rId48" Type="http://schemas.openxmlformats.org/officeDocument/2006/relationships/image" Target="../media/image18.png"/><Relationship Id="rId56" Type="http://schemas.openxmlformats.org/officeDocument/2006/relationships/image" Target="../media/image26.png"/><Relationship Id="rId64" Type="http://schemas.openxmlformats.org/officeDocument/2006/relationships/image" Target="../media/image34.png"/><Relationship Id="rId69" Type="http://schemas.openxmlformats.org/officeDocument/2006/relationships/image" Target="../media/image39.png"/><Relationship Id="rId77" Type="http://schemas.openxmlformats.org/officeDocument/2006/relationships/image" Target="../media/image47.png"/><Relationship Id="rId100" Type="http://schemas.openxmlformats.org/officeDocument/2006/relationships/image" Target="../media/image70.png"/><Relationship Id="rId105" Type="http://schemas.openxmlformats.org/officeDocument/2006/relationships/image" Target="../media/image75.png"/><Relationship Id="rId113" Type="http://schemas.openxmlformats.org/officeDocument/2006/relationships/image" Target="../media/image83.png"/><Relationship Id="rId118" Type="http://schemas.openxmlformats.org/officeDocument/2006/relationships/image" Target="../media/image88.png"/><Relationship Id="rId126" Type="http://schemas.openxmlformats.org/officeDocument/2006/relationships/image" Target="../media/image96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1.png"/><Relationship Id="rId72" Type="http://schemas.openxmlformats.org/officeDocument/2006/relationships/image" Target="../media/image42.png"/><Relationship Id="rId80" Type="http://schemas.openxmlformats.org/officeDocument/2006/relationships/image" Target="../media/image50.png"/><Relationship Id="rId85" Type="http://schemas.openxmlformats.org/officeDocument/2006/relationships/image" Target="../media/image55.png"/><Relationship Id="rId93" Type="http://schemas.openxmlformats.org/officeDocument/2006/relationships/image" Target="../media/image63.png"/><Relationship Id="rId98" Type="http://schemas.openxmlformats.org/officeDocument/2006/relationships/image" Target="../media/image68.png"/><Relationship Id="rId121" Type="http://schemas.openxmlformats.org/officeDocument/2006/relationships/image" Target="../media/image9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png"/><Relationship Id="rId38" Type="http://schemas.openxmlformats.org/officeDocument/2006/relationships/image" Target="../media/image8.png"/><Relationship Id="rId46" Type="http://schemas.openxmlformats.org/officeDocument/2006/relationships/image" Target="../media/image16.png"/><Relationship Id="rId59" Type="http://schemas.openxmlformats.org/officeDocument/2006/relationships/image" Target="../media/image29.png"/><Relationship Id="rId67" Type="http://schemas.openxmlformats.org/officeDocument/2006/relationships/image" Target="../media/image37.png"/><Relationship Id="rId103" Type="http://schemas.openxmlformats.org/officeDocument/2006/relationships/image" Target="../media/image73.png"/><Relationship Id="rId108" Type="http://schemas.openxmlformats.org/officeDocument/2006/relationships/image" Target="../media/image78.png"/><Relationship Id="rId116" Type="http://schemas.openxmlformats.org/officeDocument/2006/relationships/image" Target="../media/image86.png"/><Relationship Id="rId124" Type="http://schemas.openxmlformats.org/officeDocument/2006/relationships/image" Target="../media/image94.png"/><Relationship Id="rId20" Type="http://schemas.openxmlformats.org/officeDocument/2006/relationships/slideLayout" Target="../slideLayouts/slideLayout20.xml"/><Relationship Id="rId41" Type="http://schemas.openxmlformats.org/officeDocument/2006/relationships/image" Target="../media/image11.png"/><Relationship Id="rId54" Type="http://schemas.openxmlformats.org/officeDocument/2006/relationships/image" Target="../media/image24.png"/><Relationship Id="rId62" Type="http://schemas.openxmlformats.org/officeDocument/2006/relationships/image" Target="../media/image32.png"/><Relationship Id="rId70" Type="http://schemas.openxmlformats.org/officeDocument/2006/relationships/image" Target="../media/image40.png"/><Relationship Id="rId75" Type="http://schemas.openxmlformats.org/officeDocument/2006/relationships/image" Target="../media/image45.png"/><Relationship Id="rId83" Type="http://schemas.openxmlformats.org/officeDocument/2006/relationships/image" Target="../media/image53.png"/><Relationship Id="rId88" Type="http://schemas.openxmlformats.org/officeDocument/2006/relationships/image" Target="../media/image58.png"/><Relationship Id="rId91" Type="http://schemas.openxmlformats.org/officeDocument/2006/relationships/image" Target="../media/image61.png"/><Relationship Id="rId96" Type="http://schemas.openxmlformats.org/officeDocument/2006/relationships/image" Target="../media/image66.png"/><Relationship Id="rId111" Type="http://schemas.openxmlformats.org/officeDocument/2006/relationships/image" Target="../media/image8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6.png"/><Relationship Id="rId49" Type="http://schemas.openxmlformats.org/officeDocument/2006/relationships/image" Target="../media/image19.png"/><Relationship Id="rId57" Type="http://schemas.openxmlformats.org/officeDocument/2006/relationships/image" Target="../media/image27.png"/><Relationship Id="rId106" Type="http://schemas.openxmlformats.org/officeDocument/2006/relationships/image" Target="../media/image76.png"/><Relationship Id="rId114" Type="http://schemas.openxmlformats.org/officeDocument/2006/relationships/image" Target="../media/image84.png"/><Relationship Id="rId119" Type="http://schemas.openxmlformats.org/officeDocument/2006/relationships/image" Target="../media/image89.png"/><Relationship Id="rId127" Type="http://schemas.openxmlformats.org/officeDocument/2006/relationships/image" Target="../media/image97.png"/><Relationship Id="rId10" Type="http://schemas.openxmlformats.org/officeDocument/2006/relationships/slideLayout" Target="../slideLayouts/slideLayout10.xml"/><Relationship Id="rId31" Type="http://schemas.openxmlformats.org/officeDocument/2006/relationships/image" Target="../media/image1.png"/><Relationship Id="rId44" Type="http://schemas.openxmlformats.org/officeDocument/2006/relationships/image" Target="../media/image14.png"/><Relationship Id="rId52" Type="http://schemas.openxmlformats.org/officeDocument/2006/relationships/image" Target="../media/image22.png"/><Relationship Id="rId60" Type="http://schemas.openxmlformats.org/officeDocument/2006/relationships/image" Target="../media/image30.png"/><Relationship Id="rId65" Type="http://schemas.openxmlformats.org/officeDocument/2006/relationships/image" Target="../media/image35.png"/><Relationship Id="rId73" Type="http://schemas.openxmlformats.org/officeDocument/2006/relationships/image" Target="../media/image43.png"/><Relationship Id="rId78" Type="http://schemas.openxmlformats.org/officeDocument/2006/relationships/image" Target="../media/image48.png"/><Relationship Id="rId81" Type="http://schemas.openxmlformats.org/officeDocument/2006/relationships/image" Target="../media/image51.png"/><Relationship Id="rId86" Type="http://schemas.openxmlformats.org/officeDocument/2006/relationships/image" Target="../media/image56.png"/><Relationship Id="rId94" Type="http://schemas.openxmlformats.org/officeDocument/2006/relationships/image" Target="../media/image64.png"/><Relationship Id="rId99" Type="http://schemas.openxmlformats.org/officeDocument/2006/relationships/image" Target="../media/image69.png"/><Relationship Id="rId101" Type="http://schemas.openxmlformats.org/officeDocument/2006/relationships/image" Target="../media/image71.png"/><Relationship Id="rId122" Type="http://schemas.openxmlformats.org/officeDocument/2006/relationships/image" Target="../media/image9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image" Target="../media/image9.png"/><Relationship Id="rId109" Type="http://schemas.openxmlformats.org/officeDocument/2006/relationships/image" Target="../media/image79.png"/><Relationship Id="rId34" Type="http://schemas.openxmlformats.org/officeDocument/2006/relationships/image" Target="../media/image4.png"/><Relationship Id="rId50" Type="http://schemas.openxmlformats.org/officeDocument/2006/relationships/image" Target="../media/image20.png"/><Relationship Id="rId55" Type="http://schemas.openxmlformats.org/officeDocument/2006/relationships/image" Target="../media/image25.png"/><Relationship Id="rId76" Type="http://schemas.openxmlformats.org/officeDocument/2006/relationships/image" Target="../media/image46.png"/><Relationship Id="rId97" Type="http://schemas.openxmlformats.org/officeDocument/2006/relationships/image" Target="../media/image67.png"/><Relationship Id="rId104" Type="http://schemas.openxmlformats.org/officeDocument/2006/relationships/image" Target="../media/image74.png"/><Relationship Id="rId120" Type="http://schemas.openxmlformats.org/officeDocument/2006/relationships/image" Target="../media/image90.png"/><Relationship Id="rId125" Type="http://schemas.openxmlformats.org/officeDocument/2006/relationships/image" Target="../media/image95.png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41.png"/><Relationship Id="rId92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image" Target="../media/image10.png"/><Relationship Id="rId45" Type="http://schemas.openxmlformats.org/officeDocument/2006/relationships/image" Target="../media/image15.png"/><Relationship Id="rId66" Type="http://schemas.openxmlformats.org/officeDocument/2006/relationships/image" Target="../media/image36.png"/><Relationship Id="rId87" Type="http://schemas.openxmlformats.org/officeDocument/2006/relationships/image" Target="../media/image57.png"/><Relationship Id="rId110" Type="http://schemas.openxmlformats.org/officeDocument/2006/relationships/image" Target="../media/image80.png"/><Relationship Id="rId115" Type="http://schemas.openxmlformats.org/officeDocument/2006/relationships/image" Target="../media/image85.png"/><Relationship Id="rId61" Type="http://schemas.openxmlformats.org/officeDocument/2006/relationships/image" Target="../media/image31.png"/><Relationship Id="rId82" Type="http://schemas.openxmlformats.org/officeDocument/2006/relationships/image" Target="../media/image52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9" Type="http://schemas.openxmlformats.org/officeDocument/2006/relationships/oleObject" Target="../embeddings/oleObject3.bin"/><Relationship Id="rId21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63.xml"/><Relationship Id="rId42" Type="http://schemas.openxmlformats.org/officeDocument/2006/relationships/image" Target="../media/image3.png"/><Relationship Id="rId47" Type="http://schemas.openxmlformats.org/officeDocument/2006/relationships/image" Target="../media/image8.png"/><Relationship Id="rId50" Type="http://schemas.openxmlformats.org/officeDocument/2006/relationships/image" Target="../media/image11.png"/><Relationship Id="rId55" Type="http://schemas.openxmlformats.org/officeDocument/2006/relationships/image" Target="../media/image16.png"/><Relationship Id="rId63" Type="http://schemas.openxmlformats.org/officeDocument/2006/relationships/image" Target="../media/image24.png"/><Relationship Id="rId68" Type="http://schemas.openxmlformats.org/officeDocument/2006/relationships/image" Target="../media/image29.png"/><Relationship Id="rId7" Type="http://schemas.openxmlformats.org/officeDocument/2006/relationships/slideLayout" Target="../slideLayouts/slideLayout36.xml"/><Relationship Id="rId71" Type="http://schemas.openxmlformats.org/officeDocument/2006/relationships/image" Target="../media/image32.png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slideLayout" Target="../slideLayouts/slideLayout61.xml"/><Relationship Id="rId37" Type="http://schemas.openxmlformats.org/officeDocument/2006/relationships/vmlDrawing" Target="../drawings/vmlDrawing3.vml"/><Relationship Id="rId40" Type="http://schemas.openxmlformats.org/officeDocument/2006/relationships/image" Target="../media/image109.emf"/><Relationship Id="rId45" Type="http://schemas.openxmlformats.org/officeDocument/2006/relationships/image" Target="../media/image6.png"/><Relationship Id="rId53" Type="http://schemas.openxmlformats.org/officeDocument/2006/relationships/image" Target="../media/image14.png"/><Relationship Id="rId58" Type="http://schemas.openxmlformats.org/officeDocument/2006/relationships/image" Target="../media/image19.png"/><Relationship Id="rId66" Type="http://schemas.openxmlformats.org/officeDocument/2006/relationships/image" Target="../media/image27.png"/><Relationship Id="rId74" Type="http://schemas.openxmlformats.org/officeDocument/2006/relationships/image" Target="../media/image97.png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theme" Target="../theme/theme2.xml"/><Relationship Id="rId49" Type="http://schemas.openxmlformats.org/officeDocument/2006/relationships/image" Target="../media/image10.png"/><Relationship Id="rId57" Type="http://schemas.openxmlformats.org/officeDocument/2006/relationships/image" Target="../media/image18.png"/><Relationship Id="rId61" Type="http://schemas.openxmlformats.org/officeDocument/2006/relationships/image" Target="../media/image22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4" Type="http://schemas.openxmlformats.org/officeDocument/2006/relationships/image" Target="../media/image5.png"/><Relationship Id="rId52" Type="http://schemas.openxmlformats.org/officeDocument/2006/relationships/image" Target="../media/image13.png"/><Relationship Id="rId60" Type="http://schemas.openxmlformats.org/officeDocument/2006/relationships/image" Target="../media/image21.png"/><Relationship Id="rId65" Type="http://schemas.openxmlformats.org/officeDocument/2006/relationships/image" Target="../media/image26.png"/><Relationship Id="rId73" Type="http://schemas.openxmlformats.org/officeDocument/2006/relationships/image" Target="../media/image34.png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slideLayout" Target="../slideLayouts/slideLayout64.xml"/><Relationship Id="rId43" Type="http://schemas.openxmlformats.org/officeDocument/2006/relationships/image" Target="../media/image4.png"/><Relationship Id="rId48" Type="http://schemas.openxmlformats.org/officeDocument/2006/relationships/image" Target="../media/image9.png"/><Relationship Id="rId56" Type="http://schemas.openxmlformats.org/officeDocument/2006/relationships/image" Target="../media/image17.png"/><Relationship Id="rId64" Type="http://schemas.openxmlformats.org/officeDocument/2006/relationships/image" Target="../media/image25.png"/><Relationship Id="rId69" Type="http://schemas.openxmlformats.org/officeDocument/2006/relationships/image" Target="../media/image30.png"/><Relationship Id="rId8" Type="http://schemas.openxmlformats.org/officeDocument/2006/relationships/slideLayout" Target="../slideLayouts/slideLayout37.xml"/><Relationship Id="rId51" Type="http://schemas.openxmlformats.org/officeDocument/2006/relationships/image" Target="../media/image12.png"/><Relationship Id="rId72" Type="http://schemas.openxmlformats.org/officeDocument/2006/relationships/image" Target="../media/image33.png"/><Relationship Id="rId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slideLayout" Target="../slideLayouts/slideLayout62.xml"/><Relationship Id="rId38" Type="http://schemas.openxmlformats.org/officeDocument/2006/relationships/tags" Target="../tags/tag3.xml"/><Relationship Id="rId46" Type="http://schemas.openxmlformats.org/officeDocument/2006/relationships/image" Target="../media/image7.png"/><Relationship Id="rId59" Type="http://schemas.openxmlformats.org/officeDocument/2006/relationships/image" Target="../media/image20.png"/><Relationship Id="rId67" Type="http://schemas.openxmlformats.org/officeDocument/2006/relationships/image" Target="../media/image28.png"/><Relationship Id="rId20" Type="http://schemas.openxmlformats.org/officeDocument/2006/relationships/slideLayout" Target="../slideLayouts/slideLayout49.xml"/><Relationship Id="rId41" Type="http://schemas.openxmlformats.org/officeDocument/2006/relationships/image" Target="../media/image2.png"/><Relationship Id="rId54" Type="http://schemas.openxmlformats.org/officeDocument/2006/relationships/image" Target="../media/image15.png"/><Relationship Id="rId62" Type="http://schemas.openxmlformats.org/officeDocument/2006/relationships/image" Target="../media/image23.png"/><Relationship Id="rId70" Type="http://schemas.openxmlformats.org/officeDocument/2006/relationships/image" Target="../media/image31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792" y="6307991"/>
            <a:ext cx="1847213" cy="53004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81252" y="723457"/>
            <a:ext cx="10629499" cy="55810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81252" y="1660527"/>
            <a:ext cx="10629499" cy="433288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40848" y="6441947"/>
            <a:ext cx="605935" cy="2051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333">
                <a:solidFill>
                  <a:schemeClr val="accent4"/>
                </a:solidFill>
              </a:defRPr>
            </a:lvl1pPr>
          </a:lstStyle>
          <a:p>
            <a:pPr defTabSz="913912"/>
            <a:fld id="{A7B1B98F-AB15-46C4-BBDD-D069330569E9}" type="datetime1">
              <a:rPr lang="nb-NO" smtClean="0">
                <a:solidFill>
                  <a:srgbClr val="032A74"/>
                </a:solidFill>
              </a:rPr>
              <a:t>14.01.2020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535503" y="6441947"/>
            <a:ext cx="8358445" cy="2051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333">
                <a:solidFill>
                  <a:schemeClr val="accent4"/>
                </a:solidFill>
              </a:defRPr>
            </a:lvl1pPr>
          </a:lstStyle>
          <a:p>
            <a:pPr defTabSz="913912"/>
            <a:r>
              <a:rPr lang="nb-NO" smtClean="0">
                <a:solidFill>
                  <a:srgbClr val="032A74"/>
                </a:solidFill>
              </a:rPr>
              <a:t>Lederforum</a:t>
            </a:r>
            <a:endParaRPr lang="nb-NO">
              <a:solidFill>
                <a:srgbClr val="032A74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93419" y="6441947"/>
            <a:ext cx="203582" cy="2051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333" b="1">
                <a:solidFill>
                  <a:schemeClr val="accent4"/>
                </a:solidFill>
              </a:defRPr>
            </a:lvl1pPr>
          </a:lstStyle>
          <a:p>
            <a:pPr defTabSz="913912"/>
            <a:fld id="{C8015E39-59DC-48A0-9676-AD2CAF5CD29F}" type="slidenum">
              <a:rPr lang="nb-NO" smtClean="0">
                <a:solidFill>
                  <a:srgbClr val="032A74"/>
                </a:solidFill>
              </a:rPr>
              <a:pPr defTabSz="913912"/>
              <a:t>‹#›</a:t>
            </a:fld>
            <a:endParaRPr lang="nb-NO">
              <a:solidFill>
                <a:srgbClr val="032A74"/>
              </a:solidFill>
            </a:endParaRPr>
          </a:p>
        </p:txBody>
      </p:sp>
      <p:grpSp>
        <p:nvGrpSpPr>
          <p:cNvPr id="74" name="bamse" hidden="1"/>
          <p:cNvGrpSpPr/>
          <p:nvPr userDrawn="1"/>
        </p:nvGrpSpPr>
        <p:grpSpPr>
          <a:xfrm>
            <a:off x="5313600" y="2646600"/>
            <a:ext cx="1564800" cy="1564800"/>
            <a:chOff x="300343" y="1212537"/>
            <a:chExt cx="1173600" cy="1173600"/>
          </a:xfrm>
        </p:grpSpPr>
        <p:sp>
          <p:nvSpPr>
            <p:cNvPr id="75" name="bamse_hvit_sirkel"/>
            <p:cNvSpPr/>
            <p:nvPr userDrawn="1"/>
          </p:nvSpPr>
          <p:spPr>
            <a:xfrm>
              <a:off x="300343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76" name="bamse"/>
            <p:cNvPicPr>
              <a:picLocks noChangeAspect="1"/>
            </p:cNvPicPr>
            <p:nvPr userDrawn="1"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77" name="hake" hidden="1"/>
          <p:cNvGrpSpPr/>
          <p:nvPr userDrawn="1"/>
        </p:nvGrpSpPr>
        <p:grpSpPr>
          <a:xfrm>
            <a:off x="5313600" y="2646600"/>
            <a:ext cx="1564800" cy="1564800"/>
            <a:chOff x="1774286" y="1212537"/>
            <a:chExt cx="1173600" cy="1173600"/>
          </a:xfrm>
        </p:grpSpPr>
        <p:sp>
          <p:nvSpPr>
            <p:cNvPr id="78" name="hake_hvit_sirkel"/>
            <p:cNvSpPr/>
            <p:nvPr userDrawn="1"/>
          </p:nvSpPr>
          <p:spPr>
            <a:xfrm>
              <a:off x="1774286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79" name="hake"/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0" name="kr" hidden="1"/>
          <p:cNvGrpSpPr/>
          <p:nvPr userDrawn="1"/>
        </p:nvGrpSpPr>
        <p:grpSpPr>
          <a:xfrm>
            <a:off x="5313600" y="2646600"/>
            <a:ext cx="1564800" cy="1564800"/>
            <a:chOff x="3248229" y="1212537"/>
            <a:chExt cx="1173600" cy="1173600"/>
          </a:xfrm>
        </p:grpSpPr>
        <p:sp>
          <p:nvSpPr>
            <p:cNvPr id="81" name="kr_hvit_sirkel"/>
            <p:cNvSpPr/>
            <p:nvPr userDrawn="1"/>
          </p:nvSpPr>
          <p:spPr>
            <a:xfrm>
              <a:off x="3248229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82" name="kr"/>
            <p:cNvPicPr>
              <a:picLocks noChangeAspect="1"/>
            </p:cNvPicPr>
            <p:nvPr userDrawn="1"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3" name="bil" hidden="1"/>
          <p:cNvGrpSpPr/>
          <p:nvPr userDrawn="1"/>
        </p:nvGrpSpPr>
        <p:grpSpPr>
          <a:xfrm>
            <a:off x="5313600" y="2646600"/>
            <a:ext cx="1564800" cy="1564800"/>
            <a:chOff x="4722172" y="1212537"/>
            <a:chExt cx="1173600" cy="1173600"/>
          </a:xfrm>
        </p:grpSpPr>
        <p:sp>
          <p:nvSpPr>
            <p:cNvPr id="84" name="bil_hvit_sirkel"/>
            <p:cNvSpPr/>
            <p:nvPr userDrawn="1"/>
          </p:nvSpPr>
          <p:spPr>
            <a:xfrm>
              <a:off x="4722172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85" name="bil"/>
            <p:cNvPicPr>
              <a:picLocks noChangeAspect="1"/>
            </p:cNvPicPr>
            <p:nvPr userDrawn="1"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6" name="pluss" hidden="1"/>
          <p:cNvGrpSpPr/>
          <p:nvPr userDrawn="1"/>
        </p:nvGrpSpPr>
        <p:grpSpPr>
          <a:xfrm>
            <a:off x="5313600" y="2646600"/>
            <a:ext cx="1564800" cy="1564800"/>
            <a:chOff x="6196115" y="1212537"/>
            <a:chExt cx="1173600" cy="1173600"/>
          </a:xfrm>
        </p:grpSpPr>
        <p:sp>
          <p:nvSpPr>
            <p:cNvPr id="87" name="pluss_hvit_sirkel"/>
            <p:cNvSpPr/>
            <p:nvPr userDrawn="1"/>
          </p:nvSpPr>
          <p:spPr>
            <a:xfrm>
              <a:off x="6196115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88" name="pluss"/>
            <p:cNvPicPr>
              <a:picLocks noChangeAspect="1"/>
            </p:cNvPicPr>
            <p:nvPr userDrawn="1"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9" name="snakkeboble" hidden="1"/>
          <p:cNvGrpSpPr/>
          <p:nvPr userDrawn="1"/>
        </p:nvGrpSpPr>
        <p:grpSpPr>
          <a:xfrm>
            <a:off x="5313600" y="2646600"/>
            <a:ext cx="1564800" cy="1564800"/>
            <a:chOff x="7670058" y="1212537"/>
            <a:chExt cx="1173600" cy="1173600"/>
          </a:xfrm>
        </p:grpSpPr>
        <p:sp>
          <p:nvSpPr>
            <p:cNvPr id="90" name="snakkeboble_hvit_sirkel"/>
            <p:cNvSpPr/>
            <p:nvPr userDrawn="1"/>
          </p:nvSpPr>
          <p:spPr>
            <a:xfrm>
              <a:off x="7670058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91" name="snakkeboble"/>
            <p:cNvPicPr>
              <a:picLocks noChangeAspect="1"/>
            </p:cNvPicPr>
            <p:nvPr userDrawn="1"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2" name="paraply" hidden="1"/>
          <p:cNvGrpSpPr/>
          <p:nvPr userDrawn="1"/>
        </p:nvGrpSpPr>
        <p:grpSpPr>
          <a:xfrm>
            <a:off x="5313600" y="2646600"/>
            <a:ext cx="1564800" cy="1564800"/>
            <a:chOff x="1774286" y="1331807"/>
            <a:chExt cx="1173600" cy="1173600"/>
          </a:xfrm>
        </p:grpSpPr>
        <p:sp>
          <p:nvSpPr>
            <p:cNvPr id="93" name="paraply_hvit_sirkel"/>
            <p:cNvSpPr/>
            <p:nvPr userDrawn="1"/>
          </p:nvSpPr>
          <p:spPr>
            <a:xfrm>
              <a:off x="1774286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94" name="paraply"/>
            <p:cNvPicPr>
              <a:picLocks noChangeAspect="1"/>
            </p:cNvPicPr>
            <p:nvPr userDrawn="1"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5" name="pakke" hidden="1"/>
          <p:cNvGrpSpPr/>
          <p:nvPr userDrawn="1"/>
        </p:nvGrpSpPr>
        <p:grpSpPr>
          <a:xfrm>
            <a:off x="5313600" y="2646600"/>
            <a:ext cx="1564800" cy="1564800"/>
            <a:chOff x="3248229" y="1331807"/>
            <a:chExt cx="1173600" cy="1173600"/>
          </a:xfrm>
        </p:grpSpPr>
        <p:sp>
          <p:nvSpPr>
            <p:cNvPr id="96" name="pakke_hvit_sirkel"/>
            <p:cNvSpPr/>
            <p:nvPr userDrawn="1"/>
          </p:nvSpPr>
          <p:spPr>
            <a:xfrm>
              <a:off x="3248229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97" name="pakke"/>
            <p:cNvPicPr>
              <a:picLocks noChangeAspect="1"/>
            </p:cNvPicPr>
            <p:nvPr userDrawn="1"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8" name="hus" hidden="1"/>
          <p:cNvGrpSpPr/>
          <p:nvPr userDrawn="1"/>
        </p:nvGrpSpPr>
        <p:grpSpPr>
          <a:xfrm>
            <a:off x="5313600" y="2646600"/>
            <a:ext cx="1564800" cy="1564800"/>
            <a:chOff x="4722172" y="1331807"/>
            <a:chExt cx="1173600" cy="1173600"/>
          </a:xfrm>
        </p:grpSpPr>
        <p:sp>
          <p:nvSpPr>
            <p:cNvPr id="99" name="hus_hvit_sirkel"/>
            <p:cNvSpPr/>
            <p:nvPr userDrawn="1"/>
          </p:nvSpPr>
          <p:spPr>
            <a:xfrm>
              <a:off x="4722172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00" name="hus"/>
            <p:cNvPicPr>
              <a:picLocks noChangeAspect="1"/>
            </p:cNvPicPr>
            <p:nvPr userDrawn="1"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1" name="id" hidden="1"/>
          <p:cNvGrpSpPr/>
          <p:nvPr userDrawn="1"/>
        </p:nvGrpSpPr>
        <p:grpSpPr>
          <a:xfrm>
            <a:off x="5313600" y="2646600"/>
            <a:ext cx="1564800" cy="1564800"/>
            <a:chOff x="6196115" y="1331807"/>
            <a:chExt cx="1173600" cy="1173600"/>
          </a:xfrm>
        </p:grpSpPr>
        <p:sp>
          <p:nvSpPr>
            <p:cNvPr id="102" name="id_hvit_sirkel"/>
            <p:cNvSpPr/>
            <p:nvPr userDrawn="1"/>
          </p:nvSpPr>
          <p:spPr>
            <a:xfrm>
              <a:off x="6196115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03" name="id"/>
            <p:cNvPicPr>
              <a:picLocks noChangeAspect="1"/>
            </p:cNvPicPr>
            <p:nvPr userDrawn="1"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4" name="kalkulator" hidden="1"/>
          <p:cNvGrpSpPr/>
          <p:nvPr userDrawn="1"/>
        </p:nvGrpSpPr>
        <p:grpSpPr>
          <a:xfrm>
            <a:off x="5313600" y="2646600"/>
            <a:ext cx="1564800" cy="1564800"/>
            <a:chOff x="7670058" y="1331807"/>
            <a:chExt cx="1173600" cy="1173600"/>
          </a:xfrm>
        </p:grpSpPr>
        <p:sp>
          <p:nvSpPr>
            <p:cNvPr id="105" name="kalkulator_hvit_sirkel"/>
            <p:cNvSpPr/>
            <p:nvPr userDrawn="1"/>
          </p:nvSpPr>
          <p:spPr>
            <a:xfrm>
              <a:off x="7670058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06" name="kalkulator"/>
            <p:cNvPicPr>
              <a:picLocks noChangeAspect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7" name="handlevogn" hidden="1"/>
          <p:cNvGrpSpPr/>
          <p:nvPr userDrawn="1"/>
        </p:nvGrpSpPr>
        <p:grpSpPr>
          <a:xfrm>
            <a:off x="5313600" y="2646600"/>
            <a:ext cx="1564800" cy="1564800"/>
            <a:chOff x="300343" y="1138704"/>
            <a:chExt cx="1173600" cy="1173600"/>
          </a:xfrm>
        </p:grpSpPr>
        <p:sp>
          <p:nvSpPr>
            <p:cNvPr id="108" name="handlevogn_hvit_sirkel"/>
            <p:cNvSpPr/>
            <p:nvPr userDrawn="1"/>
          </p:nvSpPr>
          <p:spPr>
            <a:xfrm>
              <a:off x="300343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09" name="handlevogn"/>
            <p:cNvPicPr>
              <a:picLocks noChangeAspect="1"/>
            </p:cNvPicPr>
            <p:nvPr userDrawn="1"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0" name="hundre" hidden="1"/>
          <p:cNvGrpSpPr/>
          <p:nvPr userDrawn="1"/>
        </p:nvGrpSpPr>
        <p:grpSpPr>
          <a:xfrm>
            <a:off x="5313600" y="2646600"/>
            <a:ext cx="1564800" cy="1564800"/>
            <a:chOff x="1774286" y="1138704"/>
            <a:chExt cx="1173600" cy="1173600"/>
          </a:xfrm>
        </p:grpSpPr>
        <p:sp>
          <p:nvSpPr>
            <p:cNvPr id="111" name="hundre_hvit_sirkel"/>
            <p:cNvSpPr/>
            <p:nvPr userDrawn="1"/>
          </p:nvSpPr>
          <p:spPr>
            <a:xfrm>
              <a:off x="1774286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12" name="hundre"/>
            <p:cNvPicPr>
              <a:picLocks noChangeAspect="1"/>
            </p:cNvPicPr>
            <p:nvPr userDrawn="1"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3" name="kort" hidden="1"/>
          <p:cNvGrpSpPr/>
          <p:nvPr userDrawn="1"/>
        </p:nvGrpSpPr>
        <p:grpSpPr>
          <a:xfrm>
            <a:off x="5313600" y="2646600"/>
            <a:ext cx="1564800" cy="1564800"/>
            <a:chOff x="3248229" y="2838310"/>
            <a:chExt cx="1173600" cy="1173600"/>
          </a:xfrm>
        </p:grpSpPr>
        <p:sp>
          <p:nvSpPr>
            <p:cNvPr id="114" name="kort_hvit_sirkel"/>
            <p:cNvSpPr/>
            <p:nvPr userDrawn="1"/>
          </p:nvSpPr>
          <p:spPr>
            <a:xfrm>
              <a:off x="3248229" y="2838310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15" name="kort"/>
            <p:cNvPicPr>
              <a:picLocks noChangeAspect="1"/>
            </p:cNvPicPr>
            <p:nvPr userDrawn="1"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2838310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6" name="headset" hidden="1"/>
          <p:cNvGrpSpPr/>
          <p:nvPr userDrawn="1"/>
        </p:nvGrpSpPr>
        <p:grpSpPr>
          <a:xfrm>
            <a:off x="5313600" y="2646600"/>
            <a:ext cx="1564800" cy="1564800"/>
            <a:chOff x="4722172" y="1138704"/>
            <a:chExt cx="1173600" cy="1173600"/>
          </a:xfrm>
        </p:grpSpPr>
        <p:sp>
          <p:nvSpPr>
            <p:cNvPr id="117" name="headset_hvit_sirkel"/>
            <p:cNvSpPr/>
            <p:nvPr userDrawn="1"/>
          </p:nvSpPr>
          <p:spPr>
            <a:xfrm>
              <a:off x="4722172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18" name="headset"/>
            <p:cNvPicPr>
              <a:picLocks noChangeAspect="1"/>
            </p:cNvPicPr>
            <p:nvPr userDrawn="1"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9" name="hjerte" hidden="1"/>
          <p:cNvGrpSpPr/>
          <p:nvPr userDrawn="1"/>
        </p:nvGrpSpPr>
        <p:grpSpPr>
          <a:xfrm>
            <a:off x="5313600" y="2646600"/>
            <a:ext cx="1564800" cy="1564800"/>
            <a:chOff x="6196115" y="1138704"/>
            <a:chExt cx="1173600" cy="1173600"/>
          </a:xfrm>
        </p:grpSpPr>
        <p:sp>
          <p:nvSpPr>
            <p:cNvPr id="120" name="hjerte_hvit_sirkel"/>
            <p:cNvSpPr/>
            <p:nvPr userDrawn="1"/>
          </p:nvSpPr>
          <p:spPr>
            <a:xfrm>
              <a:off x="6196115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21" name="hjerte"/>
            <p:cNvPicPr>
              <a:picLocks noChangeAspect="1"/>
            </p:cNvPicPr>
            <p:nvPr userDrawn="1"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2" name="nokkel" hidden="1"/>
          <p:cNvGrpSpPr/>
          <p:nvPr userDrawn="1"/>
        </p:nvGrpSpPr>
        <p:grpSpPr>
          <a:xfrm>
            <a:off x="5313600" y="2646600"/>
            <a:ext cx="1564800" cy="1564800"/>
            <a:chOff x="7670058" y="1138704"/>
            <a:chExt cx="1173600" cy="1173600"/>
          </a:xfrm>
        </p:grpSpPr>
        <p:sp>
          <p:nvSpPr>
            <p:cNvPr id="123" name="nokkel_hvit_sirkel"/>
            <p:cNvSpPr/>
            <p:nvPr userDrawn="1"/>
          </p:nvSpPr>
          <p:spPr>
            <a:xfrm>
              <a:off x="7670058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24" name="nokkel"/>
            <p:cNvPicPr>
              <a:picLocks noChangeAspect="1"/>
            </p:cNvPicPr>
            <p:nvPr userDrawn="1"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5" name="mobil" hidden="1"/>
          <p:cNvGrpSpPr/>
          <p:nvPr userDrawn="1"/>
        </p:nvGrpSpPr>
        <p:grpSpPr>
          <a:xfrm>
            <a:off x="5313600" y="2646600"/>
            <a:ext cx="1564800" cy="1564800"/>
            <a:chOff x="300343" y="1223896"/>
            <a:chExt cx="1173600" cy="1173600"/>
          </a:xfrm>
        </p:grpSpPr>
        <p:sp>
          <p:nvSpPr>
            <p:cNvPr id="126" name="mobil_hvit_sirkel"/>
            <p:cNvSpPr/>
            <p:nvPr userDrawn="1"/>
          </p:nvSpPr>
          <p:spPr>
            <a:xfrm>
              <a:off x="300343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27" name="mobil"/>
            <p:cNvPicPr>
              <a:picLocks noChangeAspect="1"/>
            </p:cNvPicPr>
            <p:nvPr userDrawn="1"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8" name="nokkelhull" hidden="1"/>
          <p:cNvGrpSpPr/>
          <p:nvPr userDrawn="1"/>
        </p:nvGrpSpPr>
        <p:grpSpPr>
          <a:xfrm>
            <a:off x="5313600" y="2646600"/>
            <a:ext cx="1564800" cy="1564800"/>
            <a:chOff x="1774286" y="1223896"/>
            <a:chExt cx="1173600" cy="1173600"/>
          </a:xfrm>
        </p:grpSpPr>
        <p:sp>
          <p:nvSpPr>
            <p:cNvPr id="129" name="nokkelhull_hvit_sirkel"/>
            <p:cNvSpPr/>
            <p:nvPr userDrawn="1"/>
          </p:nvSpPr>
          <p:spPr>
            <a:xfrm>
              <a:off x="1774286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30" name="nokkelhull"/>
            <p:cNvPicPr>
              <a:picLocks noChangeAspect="1"/>
            </p:cNvPicPr>
            <p:nvPr userDrawn="1"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1" name="tog" hidden="1"/>
          <p:cNvGrpSpPr/>
          <p:nvPr userDrawn="1"/>
        </p:nvGrpSpPr>
        <p:grpSpPr>
          <a:xfrm>
            <a:off x="5313600" y="2646600"/>
            <a:ext cx="1564800" cy="1564800"/>
            <a:chOff x="3248229" y="1223896"/>
            <a:chExt cx="1173600" cy="1173600"/>
          </a:xfrm>
        </p:grpSpPr>
        <p:sp>
          <p:nvSpPr>
            <p:cNvPr id="132" name="tog_hvit_sirkel"/>
            <p:cNvSpPr/>
            <p:nvPr userDrawn="1"/>
          </p:nvSpPr>
          <p:spPr>
            <a:xfrm>
              <a:off x="3248229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33" name="tog"/>
            <p:cNvPicPr>
              <a:picLocks noChangeAspect="1"/>
            </p:cNvPicPr>
            <p:nvPr userDrawn="1"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4" name="pengesekk" hidden="1"/>
          <p:cNvGrpSpPr/>
          <p:nvPr userDrawn="1"/>
        </p:nvGrpSpPr>
        <p:grpSpPr>
          <a:xfrm>
            <a:off x="5313600" y="2646600"/>
            <a:ext cx="1564800" cy="1564800"/>
            <a:chOff x="4722172" y="339502"/>
            <a:chExt cx="1173600" cy="1173600"/>
          </a:xfrm>
        </p:grpSpPr>
        <p:sp>
          <p:nvSpPr>
            <p:cNvPr id="135" name="pengesekk_hvit_sirkel"/>
            <p:cNvSpPr/>
            <p:nvPr userDrawn="1"/>
          </p:nvSpPr>
          <p:spPr>
            <a:xfrm>
              <a:off x="4722172" y="3395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36" name="pengesekk"/>
            <p:cNvPicPr>
              <a:picLocks noChangeAspect="1"/>
            </p:cNvPicPr>
            <p:nvPr userDrawn="1"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3395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7" name="kundeservice" hidden="1"/>
          <p:cNvGrpSpPr/>
          <p:nvPr userDrawn="1"/>
        </p:nvGrpSpPr>
        <p:grpSpPr>
          <a:xfrm>
            <a:off x="5313600" y="2646600"/>
            <a:ext cx="1564800" cy="1564800"/>
            <a:chOff x="6196115" y="1223896"/>
            <a:chExt cx="1173600" cy="1173600"/>
          </a:xfrm>
        </p:grpSpPr>
        <p:sp>
          <p:nvSpPr>
            <p:cNvPr id="138" name="kundeservice_hvit_sirkel"/>
            <p:cNvSpPr/>
            <p:nvPr userDrawn="1"/>
          </p:nvSpPr>
          <p:spPr>
            <a:xfrm>
              <a:off x="6196115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39" name="kundeservice"/>
            <p:cNvPicPr>
              <a:picLocks noChangeAspect="1"/>
            </p:cNvPicPr>
            <p:nvPr userDrawn="1"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0" name="fly" hidden="1"/>
          <p:cNvGrpSpPr/>
          <p:nvPr userDrawn="1"/>
        </p:nvGrpSpPr>
        <p:grpSpPr>
          <a:xfrm>
            <a:off x="5313600" y="2646600"/>
            <a:ext cx="1564800" cy="1564800"/>
            <a:chOff x="7670058" y="1223896"/>
            <a:chExt cx="1173600" cy="1173600"/>
          </a:xfrm>
        </p:grpSpPr>
        <p:sp>
          <p:nvSpPr>
            <p:cNvPr id="141" name="fly_hvit_sirkel"/>
            <p:cNvSpPr/>
            <p:nvPr userDrawn="1"/>
          </p:nvSpPr>
          <p:spPr>
            <a:xfrm>
              <a:off x="7670058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42" name="fly"/>
            <p:cNvPicPr>
              <a:picLocks noChangeAspect="1"/>
            </p:cNvPicPr>
            <p:nvPr userDrawn="1"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3" name="flamme" hidden="1"/>
          <p:cNvGrpSpPr/>
          <p:nvPr userDrawn="1"/>
        </p:nvGrpSpPr>
        <p:grpSpPr>
          <a:xfrm>
            <a:off x="5313600" y="2646600"/>
            <a:ext cx="1564800" cy="1564800"/>
            <a:chOff x="300343" y="1167102"/>
            <a:chExt cx="1173600" cy="1173600"/>
          </a:xfrm>
        </p:grpSpPr>
        <p:sp>
          <p:nvSpPr>
            <p:cNvPr id="144" name="flamme_hvit_sirkel"/>
            <p:cNvSpPr/>
            <p:nvPr userDrawn="1"/>
          </p:nvSpPr>
          <p:spPr>
            <a:xfrm>
              <a:off x="300343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45" name="flamme"/>
            <p:cNvPicPr>
              <a:picLocks noChangeAspect="1"/>
            </p:cNvPicPr>
            <p:nvPr userDrawn="1"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6" name="barn" hidden="1"/>
          <p:cNvGrpSpPr/>
          <p:nvPr userDrawn="1"/>
        </p:nvGrpSpPr>
        <p:grpSpPr>
          <a:xfrm>
            <a:off x="5313600" y="2646600"/>
            <a:ext cx="1564800" cy="1564800"/>
            <a:chOff x="1774286" y="1167102"/>
            <a:chExt cx="1173600" cy="1173600"/>
          </a:xfrm>
        </p:grpSpPr>
        <p:sp>
          <p:nvSpPr>
            <p:cNvPr id="147" name="barn_hvit_sirkel"/>
            <p:cNvSpPr/>
            <p:nvPr userDrawn="1"/>
          </p:nvSpPr>
          <p:spPr>
            <a:xfrm>
              <a:off x="1774286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48" name="barn"/>
            <p:cNvPicPr>
              <a:picLocks noChangeAspect="1"/>
            </p:cNvPicPr>
            <p:nvPr userDrawn="1"/>
          </p:nvPicPr>
          <p:blipFill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9" name="sok" hidden="1"/>
          <p:cNvGrpSpPr/>
          <p:nvPr userDrawn="1"/>
        </p:nvGrpSpPr>
        <p:grpSpPr>
          <a:xfrm>
            <a:off x="5313600" y="2646600"/>
            <a:ext cx="1564800" cy="1564800"/>
            <a:chOff x="3248229" y="1167102"/>
            <a:chExt cx="1173600" cy="1173600"/>
          </a:xfrm>
        </p:grpSpPr>
        <p:sp>
          <p:nvSpPr>
            <p:cNvPr id="150" name="sok_hvit_sirkel"/>
            <p:cNvSpPr/>
            <p:nvPr userDrawn="1"/>
          </p:nvSpPr>
          <p:spPr>
            <a:xfrm>
              <a:off x="3248229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51" name="sok"/>
            <p:cNvPicPr>
              <a:picLocks noChangeAspect="1"/>
            </p:cNvPicPr>
            <p:nvPr userDrawn="1"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2" name="sparegris" hidden="1"/>
          <p:cNvGrpSpPr/>
          <p:nvPr userDrawn="1"/>
        </p:nvGrpSpPr>
        <p:grpSpPr>
          <a:xfrm>
            <a:off x="5313600" y="2646600"/>
            <a:ext cx="1564800" cy="1564800"/>
            <a:chOff x="5045959" y="3003798"/>
            <a:chExt cx="1173600" cy="1173600"/>
          </a:xfrm>
        </p:grpSpPr>
        <p:sp>
          <p:nvSpPr>
            <p:cNvPr id="153" name="sparegris_hvit_sirkel"/>
            <p:cNvSpPr/>
            <p:nvPr userDrawn="1"/>
          </p:nvSpPr>
          <p:spPr>
            <a:xfrm>
              <a:off x="5045959" y="300379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54" name="sparegris"/>
            <p:cNvPicPr>
              <a:picLocks noChangeAspect="1"/>
            </p:cNvPicPr>
            <p:nvPr userDrawn="1"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5959" y="300379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5" name="sporsmalstegn" hidden="1"/>
          <p:cNvGrpSpPr/>
          <p:nvPr userDrawn="1"/>
        </p:nvGrpSpPr>
        <p:grpSpPr>
          <a:xfrm>
            <a:off x="5313600" y="2646600"/>
            <a:ext cx="1564800" cy="1564800"/>
            <a:chOff x="6196115" y="1167102"/>
            <a:chExt cx="1173600" cy="1173600"/>
          </a:xfrm>
        </p:grpSpPr>
        <p:sp>
          <p:nvSpPr>
            <p:cNvPr id="156" name="sporsmalstegn_hvit_sirkel"/>
            <p:cNvSpPr/>
            <p:nvPr userDrawn="1"/>
          </p:nvSpPr>
          <p:spPr>
            <a:xfrm>
              <a:off x="6196115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57" name="sporsmalstegn"/>
            <p:cNvPicPr>
              <a:picLocks noChangeAspect="1"/>
            </p:cNvPicPr>
            <p:nvPr userDrawn="1"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8" name="location" hidden="1"/>
          <p:cNvGrpSpPr/>
          <p:nvPr userDrawn="1"/>
        </p:nvGrpSpPr>
        <p:grpSpPr>
          <a:xfrm>
            <a:off x="5313600" y="2646600"/>
            <a:ext cx="1564800" cy="1564800"/>
            <a:chOff x="7670058" y="1167102"/>
            <a:chExt cx="1173600" cy="1173600"/>
          </a:xfrm>
        </p:grpSpPr>
        <p:sp>
          <p:nvSpPr>
            <p:cNvPr id="159" name="location_hvit_sirkel"/>
            <p:cNvSpPr/>
            <p:nvPr userDrawn="1"/>
          </p:nvSpPr>
          <p:spPr>
            <a:xfrm>
              <a:off x="7670058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60" name="location"/>
            <p:cNvPicPr>
              <a:picLocks noChangeAspect="1"/>
            </p:cNvPicPr>
            <p:nvPr userDrawn="1"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1" name="telefon" hidden="1"/>
          <p:cNvGrpSpPr/>
          <p:nvPr userDrawn="1"/>
        </p:nvGrpSpPr>
        <p:grpSpPr>
          <a:xfrm>
            <a:off x="5313600" y="2646600"/>
            <a:ext cx="1564800" cy="1564800"/>
            <a:chOff x="889920" y="1282748"/>
            <a:chExt cx="1173600" cy="1173600"/>
          </a:xfrm>
        </p:grpSpPr>
        <p:sp>
          <p:nvSpPr>
            <p:cNvPr id="162" name="telefon_hvit_sirkel"/>
            <p:cNvSpPr/>
            <p:nvPr userDrawn="1"/>
          </p:nvSpPr>
          <p:spPr>
            <a:xfrm>
              <a:off x="88992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63" name="telefon"/>
            <p:cNvPicPr>
              <a:picLocks noChangeAspect="1"/>
            </p:cNvPicPr>
            <p:nvPr userDrawn="1"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92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4" name="ungdom" hidden="1"/>
          <p:cNvGrpSpPr/>
          <p:nvPr userDrawn="1"/>
        </p:nvGrpSpPr>
        <p:grpSpPr>
          <a:xfrm>
            <a:off x="5313600" y="2646600"/>
            <a:ext cx="1564800" cy="1564800"/>
            <a:chOff x="2953440" y="1282748"/>
            <a:chExt cx="1173600" cy="1173600"/>
          </a:xfrm>
        </p:grpSpPr>
        <p:sp>
          <p:nvSpPr>
            <p:cNvPr id="165" name="ungdom_hvit_sirkel"/>
            <p:cNvSpPr/>
            <p:nvPr userDrawn="1"/>
          </p:nvSpPr>
          <p:spPr>
            <a:xfrm>
              <a:off x="295344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66" name="ungdom"/>
            <p:cNvPicPr>
              <a:picLocks noChangeAspect="1"/>
            </p:cNvPicPr>
            <p:nvPr userDrawn="1"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44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7" name="boligsok" hidden="1"/>
          <p:cNvGrpSpPr/>
          <p:nvPr userDrawn="1"/>
        </p:nvGrpSpPr>
        <p:grpSpPr>
          <a:xfrm>
            <a:off x="5313600" y="2646600"/>
            <a:ext cx="1564800" cy="1564800"/>
            <a:chOff x="5016960" y="1282748"/>
            <a:chExt cx="1173600" cy="1173600"/>
          </a:xfrm>
        </p:grpSpPr>
        <p:sp>
          <p:nvSpPr>
            <p:cNvPr id="168" name="boligsok_hvit_sirkel"/>
            <p:cNvSpPr/>
            <p:nvPr userDrawn="1"/>
          </p:nvSpPr>
          <p:spPr>
            <a:xfrm>
              <a:off x="501696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69" name="boligsok"/>
            <p:cNvPicPr>
              <a:picLocks noChangeAspect="1"/>
            </p:cNvPicPr>
            <p:nvPr userDrawn="1"/>
          </p:nvPicPr>
          <p:blipFill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696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70" name="visning" hidden="1"/>
          <p:cNvGrpSpPr/>
          <p:nvPr userDrawn="1"/>
        </p:nvGrpSpPr>
        <p:grpSpPr>
          <a:xfrm>
            <a:off x="5313600" y="2646600"/>
            <a:ext cx="1564800" cy="1564800"/>
            <a:chOff x="7080480" y="1282748"/>
            <a:chExt cx="1173600" cy="1173600"/>
          </a:xfrm>
        </p:grpSpPr>
        <p:sp>
          <p:nvSpPr>
            <p:cNvPr id="171" name="visning_hvit_sirkel"/>
            <p:cNvSpPr/>
            <p:nvPr userDrawn="1"/>
          </p:nvSpPr>
          <p:spPr>
            <a:xfrm>
              <a:off x="708048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72" name="visning"/>
            <p:cNvPicPr>
              <a:picLocks noChangeAspect="1"/>
            </p:cNvPicPr>
            <p:nvPr userDrawn="1"/>
          </p:nvPicPr>
          <p:blipFill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0480" y="1282748"/>
              <a:ext cx="1173600" cy="1173600"/>
            </a:xfrm>
            <a:prstGeom prst="rect">
              <a:avLst/>
            </a:prstGeom>
          </p:spPr>
        </p:pic>
      </p:grpSp>
      <p:sp>
        <p:nvSpPr>
          <p:cNvPr id="173" name="hvit_sirkel" hidden="1"/>
          <p:cNvSpPr/>
          <p:nvPr userDrawn="1"/>
        </p:nvSpPr>
        <p:spPr>
          <a:xfrm>
            <a:off x="5327916" y="2660916"/>
            <a:ext cx="1536171" cy="15361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12"/>
            <a:endParaRPr lang="nb-NO" sz="1867">
              <a:solidFill>
                <a:prstClr val="white"/>
              </a:solidFill>
            </a:endParaRPr>
          </a:p>
        </p:txBody>
      </p:sp>
      <p:grpSp>
        <p:nvGrpSpPr>
          <p:cNvPr id="174" name="liste" hidden="1"/>
          <p:cNvGrpSpPr/>
          <p:nvPr userDrawn="1"/>
        </p:nvGrpSpPr>
        <p:grpSpPr>
          <a:xfrm>
            <a:off x="5328000" y="2468893"/>
            <a:ext cx="1536000" cy="1536000"/>
            <a:chOff x="1763688" y="1203598"/>
            <a:chExt cx="1152000" cy="1152000"/>
          </a:xfrm>
        </p:grpSpPr>
        <p:sp>
          <p:nvSpPr>
            <p:cNvPr id="175" name="liste_hvit_sirkel"/>
            <p:cNvSpPr/>
            <p:nvPr userDrawn="1"/>
          </p:nvSpPr>
          <p:spPr>
            <a:xfrm>
              <a:off x="1763688" y="120359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76" name="liste"/>
            <p:cNvPicPr>
              <a:picLocks noChangeAspect="1"/>
            </p:cNvPicPr>
            <p:nvPr userDrawn="1"/>
          </p:nvPicPr>
          <p:blipFill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3688" y="1203598"/>
              <a:ext cx="1152000" cy="1152000"/>
            </a:xfrm>
            <a:prstGeom prst="rect">
              <a:avLst/>
            </a:prstGeom>
          </p:spPr>
        </p:pic>
      </p:grpSp>
      <p:grpSp>
        <p:nvGrpSpPr>
          <p:cNvPr id="177" name="badekar" hidden="1"/>
          <p:cNvGrpSpPr/>
          <p:nvPr userDrawn="1"/>
        </p:nvGrpSpPr>
        <p:grpSpPr>
          <a:xfrm>
            <a:off x="5328000" y="2661000"/>
            <a:ext cx="1536000" cy="1536000"/>
            <a:chOff x="2832260" y="2186498"/>
            <a:chExt cx="1152000" cy="1152000"/>
          </a:xfrm>
        </p:grpSpPr>
        <p:sp>
          <p:nvSpPr>
            <p:cNvPr id="178" name="badekar_hvit_sirkel"/>
            <p:cNvSpPr/>
            <p:nvPr userDrawn="1"/>
          </p:nvSpPr>
          <p:spPr>
            <a:xfrm>
              <a:off x="2832260" y="218649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79" name="badekar"/>
            <p:cNvPicPr>
              <a:picLocks noChangeAspect="1"/>
            </p:cNvPicPr>
            <p:nvPr userDrawn="1"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32260" y="2186498"/>
              <a:ext cx="1152000" cy="1152000"/>
            </a:xfrm>
            <a:prstGeom prst="rect">
              <a:avLst/>
            </a:prstGeom>
          </p:spPr>
        </p:pic>
      </p:grpSp>
      <p:grpSp>
        <p:nvGrpSpPr>
          <p:cNvPr id="180" name="fotoapparat" hidden="1"/>
          <p:cNvGrpSpPr/>
          <p:nvPr userDrawn="1"/>
        </p:nvGrpSpPr>
        <p:grpSpPr>
          <a:xfrm>
            <a:off x="5328000" y="2661000"/>
            <a:ext cx="1536000" cy="1536000"/>
            <a:chOff x="886757" y="2238110"/>
            <a:chExt cx="1152000" cy="1152000"/>
          </a:xfrm>
        </p:grpSpPr>
        <p:sp>
          <p:nvSpPr>
            <p:cNvPr id="181" name="fotoapparat_hvit_sirkel"/>
            <p:cNvSpPr/>
            <p:nvPr userDrawn="1"/>
          </p:nvSpPr>
          <p:spPr>
            <a:xfrm>
              <a:off x="886757" y="223811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82" name="fotoapparat"/>
            <p:cNvPicPr>
              <a:picLocks noChangeAspect="1"/>
            </p:cNvPicPr>
            <p:nvPr userDrawn="1"/>
          </p:nvPicPr>
          <p:blipFill>
            <a:blip r:embed="rId6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6757" y="2238110"/>
              <a:ext cx="1152000" cy="1152000"/>
            </a:xfrm>
            <a:prstGeom prst="rect">
              <a:avLst/>
            </a:prstGeom>
          </p:spPr>
        </p:pic>
      </p:grpSp>
      <p:grpSp>
        <p:nvGrpSpPr>
          <p:cNvPr id="183" name="x" hidden="1"/>
          <p:cNvGrpSpPr/>
          <p:nvPr userDrawn="1"/>
        </p:nvGrpSpPr>
        <p:grpSpPr>
          <a:xfrm>
            <a:off x="5328000" y="2661000"/>
            <a:ext cx="1536000" cy="1536000"/>
            <a:chOff x="914925" y="2697619"/>
            <a:chExt cx="1152000" cy="1152000"/>
          </a:xfrm>
        </p:grpSpPr>
        <p:sp>
          <p:nvSpPr>
            <p:cNvPr id="184" name="x_hvit_sirkel"/>
            <p:cNvSpPr/>
            <p:nvPr userDrawn="1"/>
          </p:nvSpPr>
          <p:spPr>
            <a:xfrm>
              <a:off x="914925" y="269761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85" name="x"/>
            <p:cNvPicPr>
              <a:picLocks noChangeAspect="1"/>
            </p:cNvPicPr>
            <p:nvPr userDrawn="1"/>
          </p:nvPicPr>
          <p:blipFill>
            <a:blip r:embed="rId6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4925" y="2697619"/>
              <a:ext cx="1152000" cy="1152000"/>
            </a:xfrm>
            <a:prstGeom prst="rect">
              <a:avLst/>
            </a:prstGeom>
          </p:spPr>
        </p:pic>
      </p:grpSp>
      <p:grpSp>
        <p:nvGrpSpPr>
          <p:cNvPr id="186" name="sokinfo" hidden="1"/>
          <p:cNvGrpSpPr/>
          <p:nvPr userDrawn="1"/>
        </p:nvGrpSpPr>
        <p:grpSpPr>
          <a:xfrm>
            <a:off x="5328000" y="2661000"/>
            <a:ext cx="1536000" cy="1536000"/>
            <a:chOff x="4066652" y="2211582"/>
            <a:chExt cx="1152000" cy="1152000"/>
          </a:xfrm>
        </p:grpSpPr>
        <p:sp>
          <p:nvSpPr>
            <p:cNvPr id="187" name="sokinfo_hvit_sirkel"/>
            <p:cNvSpPr/>
            <p:nvPr userDrawn="1"/>
          </p:nvSpPr>
          <p:spPr>
            <a:xfrm>
              <a:off x="4066652" y="221158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88" name="sokinfo"/>
            <p:cNvPicPr>
              <a:picLocks noChangeAspect="1"/>
            </p:cNvPicPr>
            <p:nvPr userDrawn="1"/>
          </p:nvPicPr>
          <p:blipFill>
            <a:blip r:embed="rId6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66652" y="2211582"/>
              <a:ext cx="1152000" cy="1152000"/>
            </a:xfrm>
            <a:prstGeom prst="rect">
              <a:avLst/>
            </a:prstGeom>
          </p:spPr>
        </p:pic>
      </p:grpSp>
      <p:grpSp>
        <p:nvGrpSpPr>
          <p:cNvPr id="189" name="hushjerte" hidden="1"/>
          <p:cNvGrpSpPr/>
          <p:nvPr userDrawn="1"/>
        </p:nvGrpSpPr>
        <p:grpSpPr>
          <a:xfrm>
            <a:off x="5328000" y="2661000"/>
            <a:ext cx="1536000" cy="1536000"/>
            <a:chOff x="4027032" y="2862085"/>
            <a:chExt cx="1152000" cy="1152000"/>
          </a:xfrm>
        </p:grpSpPr>
        <p:sp>
          <p:nvSpPr>
            <p:cNvPr id="190" name="hushjerte_hvit_sirkel"/>
            <p:cNvSpPr/>
            <p:nvPr userDrawn="1"/>
          </p:nvSpPr>
          <p:spPr>
            <a:xfrm>
              <a:off x="4027032" y="286208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91" name="hushjerte"/>
            <p:cNvPicPr>
              <a:picLocks noChangeAspect="1"/>
            </p:cNvPicPr>
            <p:nvPr userDrawn="1"/>
          </p:nvPicPr>
          <p:blipFill>
            <a:blip r:embed="rId7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7032" y="2862085"/>
              <a:ext cx="1152000" cy="1152000"/>
            </a:xfrm>
            <a:prstGeom prst="rect">
              <a:avLst/>
            </a:prstGeom>
          </p:spPr>
        </p:pic>
      </p:grpSp>
      <p:grpSp>
        <p:nvGrpSpPr>
          <p:cNvPr id="192" name="brev" hidden="1"/>
          <p:cNvGrpSpPr/>
          <p:nvPr userDrawn="1"/>
        </p:nvGrpSpPr>
        <p:grpSpPr>
          <a:xfrm>
            <a:off x="5328000" y="2661000"/>
            <a:ext cx="1536000" cy="1536000"/>
            <a:chOff x="7403672" y="2200639"/>
            <a:chExt cx="1152000" cy="1152000"/>
          </a:xfrm>
        </p:grpSpPr>
        <p:sp>
          <p:nvSpPr>
            <p:cNvPr id="193" name="brev_hvit_sirkel"/>
            <p:cNvSpPr/>
            <p:nvPr userDrawn="1"/>
          </p:nvSpPr>
          <p:spPr>
            <a:xfrm>
              <a:off x="7403672" y="220063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94" name="brev"/>
            <p:cNvPicPr>
              <a:picLocks noChangeAspect="1"/>
            </p:cNvPicPr>
            <p:nvPr userDrawn="1"/>
          </p:nvPicPr>
          <p:blipFill>
            <a:blip r:embed="rId7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3672" y="2200639"/>
              <a:ext cx="1152000" cy="1152000"/>
            </a:xfrm>
            <a:prstGeom prst="rect">
              <a:avLst/>
            </a:prstGeom>
          </p:spPr>
        </p:pic>
      </p:grpSp>
      <p:grpSp>
        <p:nvGrpSpPr>
          <p:cNvPr id="195" name="kleshenger" hidden="1"/>
          <p:cNvGrpSpPr/>
          <p:nvPr userDrawn="1"/>
        </p:nvGrpSpPr>
        <p:grpSpPr>
          <a:xfrm>
            <a:off x="5328000" y="2661000"/>
            <a:ext cx="1536000" cy="1536000"/>
            <a:chOff x="4237684" y="2307969"/>
            <a:chExt cx="1152000" cy="1152000"/>
          </a:xfrm>
        </p:grpSpPr>
        <p:sp>
          <p:nvSpPr>
            <p:cNvPr id="196" name="kleshenger_hvit_sirkel"/>
            <p:cNvSpPr/>
            <p:nvPr userDrawn="1"/>
          </p:nvSpPr>
          <p:spPr>
            <a:xfrm>
              <a:off x="4237684" y="230796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197" name="kleshenger"/>
            <p:cNvPicPr>
              <a:picLocks noChangeAspect="1"/>
            </p:cNvPicPr>
            <p:nvPr userDrawn="1"/>
          </p:nvPicPr>
          <p:blipFill>
            <a:blip r:embed="rId7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7684" y="2307969"/>
              <a:ext cx="1152000" cy="1152000"/>
            </a:xfrm>
            <a:prstGeom prst="rect">
              <a:avLst/>
            </a:prstGeom>
          </p:spPr>
        </p:pic>
      </p:grpSp>
      <p:grpSp>
        <p:nvGrpSpPr>
          <p:cNvPr id="198" name="facebook" hidden="1"/>
          <p:cNvGrpSpPr/>
          <p:nvPr userDrawn="1"/>
        </p:nvGrpSpPr>
        <p:grpSpPr>
          <a:xfrm>
            <a:off x="5328000" y="2661000"/>
            <a:ext cx="1536000" cy="1536000"/>
            <a:chOff x="6419720" y="1607520"/>
            <a:chExt cx="1152000" cy="1152000"/>
          </a:xfrm>
        </p:grpSpPr>
        <p:sp>
          <p:nvSpPr>
            <p:cNvPr id="199" name="facebook_hvit_sirkel"/>
            <p:cNvSpPr/>
            <p:nvPr userDrawn="1"/>
          </p:nvSpPr>
          <p:spPr>
            <a:xfrm>
              <a:off x="6419720" y="160752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00" name="facebook"/>
            <p:cNvPicPr>
              <a:picLocks noChangeAspect="1"/>
            </p:cNvPicPr>
            <p:nvPr userDrawn="1"/>
          </p:nvPicPr>
          <p:blipFill>
            <a:blip r:embed="rId7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9720" y="1607520"/>
              <a:ext cx="1152000" cy="1152000"/>
            </a:xfrm>
            <a:prstGeom prst="rect">
              <a:avLst/>
            </a:prstGeom>
          </p:spPr>
        </p:pic>
      </p:grpSp>
      <p:grpSp>
        <p:nvGrpSpPr>
          <p:cNvPr id="201" name="bok" hidden="1"/>
          <p:cNvGrpSpPr/>
          <p:nvPr userDrawn="1"/>
        </p:nvGrpSpPr>
        <p:grpSpPr>
          <a:xfrm>
            <a:off x="5328000" y="2661000"/>
            <a:ext cx="1536000" cy="1536000"/>
            <a:chOff x="3701841" y="2487144"/>
            <a:chExt cx="1152000" cy="1152000"/>
          </a:xfrm>
        </p:grpSpPr>
        <p:sp>
          <p:nvSpPr>
            <p:cNvPr id="202" name="bok_hvit_sirkel"/>
            <p:cNvSpPr/>
            <p:nvPr userDrawn="1"/>
          </p:nvSpPr>
          <p:spPr>
            <a:xfrm>
              <a:off x="3701841" y="248714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03" name="bok"/>
            <p:cNvPicPr>
              <a:picLocks noChangeAspect="1"/>
            </p:cNvPicPr>
            <p:nvPr userDrawn="1"/>
          </p:nvPicPr>
          <p:blipFill>
            <a:blip r:embed="rId7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1841" y="248714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04" name="skriver" hidden="1"/>
          <p:cNvGrpSpPr/>
          <p:nvPr userDrawn="1"/>
        </p:nvGrpSpPr>
        <p:grpSpPr>
          <a:xfrm>
            <a:off x="5328000" y="2661000"/>
            <a:ext cx="1536000" cy="1536000"/>
            <a:chOff x="4022380" y="2746102"/>
            <a:chExt cx="1152000" cy="1152000"/>
          </a:xfrm>
        </p:grpSpPr>
        <p:sp>
          <p:nvSpPr>
            <p:cNvPr id="205" name="skriver_hvit_sirkel"/>
            <p:cNvSpPr/>
            <p:nvPr userDrawn="1"/>
          </p:nvSpPr>
          <p:spPr>
            <a:xfrm>
              <a:off x="4022380" y="274610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06" name="skriver"/>
            <p:cNvPicPr>
              <a:picLocks noChangeAspect="1"/>
            </p:cNvPicPr>
            <p:nvPr userDrawn="1"/>
          </p:nvPicPr>
          <p:blipFill>
            <a:blip r:embed="rId7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2380" y="2746102"/>
              <a:ext cx="1152000" cy="1152000"/>
            </a:xfrm>
            <a:prstGeom prst="rect">
              <a:avLst/>
            </a:prstGeom>
          </p:spPr>
        </p:pic>
      </p:grpSp>
      <p:grpSp>
        <p:nvGrpSpPr>
          <p:cNvPr id="207" name="info" hidden="1"/>
          <p:cNvGrpSpPr/>
          <p:nvPr userDrawn="1"/>
        </p:nvGrpSpPr>
        <p:grpSpPr>
          <a:xfrm>
            <a:off x="5328000" y="2661000"/>
            <a:ext cx="1536000" cy="1536000"/>
            <a:chOff x="849849" y="2046176"/>
            <a:chExt cx="1152000" cy="1152000"/>
          </a:xfrm>
        </p:grpSpPr>
        <p:sp>
          <p:nvSpPr>
            <p:cNvPr id="208" name="info_hvit_sirkel"/>
            <p:cNvSpPr/>
            <p:nvPr userDrawn="1"/>
          </p:nvSpPr>
          <p:spPr>
            <a:xfrm>
              <a:off x="849849" y="204617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09" name="info"/>
            <p:cNvPicPr>
              <a:picLocks noChangeAspect="1"/>
            </p:cNvPicPr>
            <p:nvPr userDrawn="1"/>
          </p:nvPicPr>
          <p:blipFill>
            <a:blip r:embed="rId7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849" y="2046176"/>
              <a:ext cx="1152000" cy="1152000"/>
            </a:xfrm>
            <a:prstGeom prst="rect">
              <a:avLst/>
            </a:prstGeom>
          </p:spPr>
        </p:pic>
      </p:grpSp>
      <p:grpSp>
        <p:nvGrpSpPr>
          <p:cNvPr id="210" name="firkantpil" hidden="1"/>
          <p:cNvGrpSpPr/>
          <p:nvPr userDrawn="1"/>
        </p:nvGrpSpPr>
        <p:grpSpPr>
          <a:xfrm>
            <a:off x="5328000" y="2661000"/>
            <a:ext cx="1536000" cy="1536000"/>
            <a:chOff x="336848" y="686455"/>
            <a:chExt cx="1152000" cy="1152000"/>
          </a:xfrm>
        </p:grpSpPr>
        <p:sp>
          <p:nvSpPr>
            <p:cNvPr id="211" name="firkantpil_hvit_sirkel"/>
            <p:cNvSpPr/>
            <p:nvPr userDrawn="1"/>
          </p:nvSpPr>
          <p:spPr>
            <a:xfrm>
              <a:off x="336848" y="68645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12" name="firkantpil"/>
            <p:cNvPicPr>
              <a:picLocks noChangeAspect="1"/>
            </p:cNvPicPr>
            <p:nvPr userDrawn="1"/>
          </p:nvPicPr>
          <p:blipFill>
            <a:blip r:embed="rId7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848" y="686455"/>
              <a:ext cx="1152000" cy="1152000"/>
            </a:xfrm>
            <a:prstGeom prst="rect">
              <a:avLst/>
            </a:prstGeom>
          </p:spPr>
        </p:pic>
      </p:grpSp>
      <p:grpSp>
        <p:nvGrpSpPr>
          <p:cNvPr id="213" name="vinduer" hidden="1"/>
          <p:cNvGrpSpPr/>
          <p:nvPr userDrawn="1"/>
        </p:nvGrpSpPr>
        <p:grpSpPr>
          <a:xfrm>
            <a:off x="5328000" y="2661000"/>
            <a:ext cx="1536000" cy="1536000"/>
            <a:chOff x="4370741" y="2188174"/>
            <a:chExt cx="1152000" cy="1152000"/>
          </a:xfrm>
        </p:grpSpPr>
        <p:sp>
          <p:nvSpPr>
            <p:cNvPr id="214" name="vinduer_hvit_sirkel"/>
            <p:cNvSpPr/>
            <p:nvPr userDrawn="1"/>
          </p:nvSpPr>
          <p:spPr>
            <a:xfrm>
              <a:off x="4370741" y="218817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15" name="vinduer"/>
            <p:cNvPicPr>
              <a:picLocks noChangeAspect="1"/>
            </p:cNvPicPr>
            <p:nvPr userDrawn="1"/>
          </p:nvPicPr>
          <p:blipFill>
            <a:blip r:embed="rId7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70741" y="218817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16" name="fotolinse" hidden="1"/>
          <p:cNvGrpSpPr/>
          <p:nvPr userDrawn="1"/>
        </p:nvGrpSpPr>
        <p:grpSpPr>
          <a:xfrm>
            <a:off x="5328000" y="2661000"/>
            <a:ext cx="1536000" cy="1536000"/>
            <a:chOff x="4241426" y="3156086"/>
            <a:chExt cx="1152000" cy="1152000"/>
          </a:xfrm>
        </p:grpSpPr>
        <p:sp>
          <p:nvSpPr>
            <p:cNvPr id="217" name="fotolinse_hvit_sirkel"/>
            <p:cNvSpPr/>
            <p:nvPr userDrawn="1"/>
          </p:nvSpPr>
          <p:spPr>
            <a:xfrm>
              <a:off x="4241426" y="315608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18" name="fotolinse"/>
            <p:cNvPicPr>
              <a:picLocks noChangeAspect="1"/>
            </p:cNvPicPr>
            <p:nvPr userDrawn="1"/>
          </p:nvPicPr>
          <p:blipFill>
            <a:blip r:embed="rId7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41426" y="3156086"/>
              <a:ext cx="1152000" cy="1152000"/>
            </a:xfrm>
            <a:prstGeom prst="rect">
              <a:avLst/>
            </a:prstGeom>
          </p:spPr>
        </p:pic>
      </p:grpSp>
      <p:grpSp>
        <p:nvGrpSpPr>
          <p:cNvPr id="219" name="hustre" hidden="1"/>
          <p:cNvGrpSpPr/>
          <p:nvPr userDrawn="1"/>
        </p:nvGrpSpPr>
        <p:grpSpPr>
          <a:xfrm>
            <a:off x="5328000" y="2661000"/>
            <a:ext cx="1536000" cy="1536000"/>
            <a:chOff x="796779" y="2560824"/>
            <a:chExt cx="1152000" cy="1152000"/>
          </a:xfrm>
        </p:grpSpPr>
        <p:sp>
          <p:nvSpPr>
            <p:cNvPr id="220" name="hustre_hvit_sirkel"/>
            <p:cNvSpPr/>
            <p:nvPr userDrawn="1"/>
          </p:nvSpPr>
          <p:spPr>
            <a:xfrm>
              <a:off x="796779" y="256082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21" name="hustre"/>
            <p:cNvPicPr>
              <a:picLocks noChangeAspect="1"/>
            </p:cNvPicPr>
            <p:nvPr userDrawn="1"/>
          </p:nvPicPr>
          <p:blipFill>
            <a:blip r:embed="rId8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779" y="256082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22" name="husinfo" hidden="1"/>
          <p:cNvGrpSpPr/>
          <p:nvPr userDrawn="1"/>
        </p:nvGrpSpPr>
        <p:grpSpPr>
          <a:xfrm>
            <a:off x="5328000" y="2661000"/>
            <a:ext cx="1536000" cy="1536000"/>
            <a:chOff x="537023" y="3151993"/>
            <a:chExt cx="1152000" cy="1152000"/>
          </a:xfrm>
        </p:grpSpPr>
        <p:sp>
          <p:nvSpPr>
            <p:cNvPr id="223" name="husinfo_hvit_sirkel"/>
            <p:cNvSpPr/>
            <p:nvPr userDrawn="1"/>
          </p:nvSpPr>
          <p:spPr>
            <a:xfrm>
              <a:off x="537023" y="3151993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24" name="husinfo"/>
            <p:cNvPicPr>
              <a:picLocks noChangeAspect="1"/>
            </p:cNvPicPr>
            <p:nvPr userDrawn="1"/>
          </p:nvPicPr>
          <p:blipFill>
            <a:blip r:embed="rId8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023" y="3151993"/>
              <a:ext cx="1152000" cy="1152000"/>
            </a:xfrm>
            <a:prstGeom prst="rect">
              <a:avLst/>
            </a:prstGeom>
          </p:spPr>
        </p:pic>
      </p:grpSp>
      <p:grpSp>
        <p:nvGrpSpPr>
          <p:cNvPr id="225" name="instagram" hidden="1"/>
          <p:cNvGrpSpPr/>
          <p:nvPr userDrawn="1"/>
        </p:nvGrpSpPr>
        <p:grpSpPr>
          <a:xfrm>
            <a:off x="5328000" y="2661000"/>
            <a:ext cx="1536000" cy="1536000"/>
            <a:chOff x="572934" y="2588086"/>
            <a:chExt cx="1152000" cy="1152000"/>
          </a:xfrm>
        </p:grpSpPr>
        <p:sp>
          <p:nvSpPr>
            <p:cNvPr id="226" name="instagram_hvit_sirkel"/>
            <p:cNvSpPr/>
            <p:nvPr userDrawn="1"/>
          </p:nvSpPr>
          <p:spPr>
            <a:xfrm>
              <a:off x="572934" y="258808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27" name="instagram"/>
            <p:cNvPicPr>
              <a:picLocks noChangeAspect="1"/>
            </p:cNvPicPr>
            <p:nvPr userDrawn="1"/>
          </p:nvPicPr>
          <p:blipFill>
            <a:blip r:embed="rId8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934" y="2588086"/>
              <a:ext cx="1152000" cy="1152000"/>
            </a:xfrm>
            <a:prstGeom prst="rect">
              <a:avLst/>
            </a:prstGeom>
          </p:spPr>
        </p:pic>
      </p:grpSp>
      <p:grpSp>
        <p:nvGrpSpPr>
          <p:cNvPr id="228" name="kart" hidden="1"/>
          <p:cNvGrpSpPr/>
          <p:nvPr userDrawn="1"/>
        </p:nvGrpSpPr>
        <p:grpSpPr>
          <a:xfrm>
            <a:off x="5328000" y="2661000"/>
            <a:ext cx="1536000" cy="1536000"/>
            <a:chOff x="801075" y="2630073"/>
            <a:chExt cx="1152000" cy="1152000"/>
          </a:xfrm>
        </p:grpSpPr>
        <p:sp>
          <p:nvSpPr>
            <p:cNvPr id="229" name="kart_hvit_sirkel"/>
            <p:cNvSpPr/>
            <p:nvPr userDrawn="1"/>
          </p:nvSpPr>
          <p:spPr>
            <a:xfrm>
              <a:off x="801075" y="2630073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30" name="kart"/>
            <p:cNvPicPr>
              <a:picLocks noChangeAspect="1"/>
            </p:cNvPicPr>
            <p:nvPr userDrawn="1"/>
          </p:nvPicPr>
          <p:blipFill>
            <a:blip r:embed="rId8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075" y="2630073"/>
              <a:ext cx="1152000" cy="1152000"/>
            </a:xfrm>
            <a:prstGeom prst="rect">
              <a:avLst/>
            </a:prstGeom>
          </p:spPr>
        </p:pic>
      </p:grpSp>
      <p:grpSp>
        <p:nvGrpSpPr>
          <p:cNvPr id="231" name="kasserolle" hidden="1"/>
          <p:cNvGrpSpPr/>
          <p:nvPr userDrawn="1"/>
        </p:nvGrpSpPr>
        <p:grpSpPr>
          <a:xfrm>
            <a:off x="5328000" y="2661000"/>
            <a:ext cx="1536000" cy="1536000"/>
            <a:chOff x="-26338" y="2973280"/>
            <a:chExt cx="1152000" cy="1152000"/>
          </a:xfrm>
        </p:grpSpPr>
        <p:sp>
          <p:nvSpPr>
            <p:cNvPr id="232" name="kasserolle_hvit_sirkel"/>
            <p:cNvSpPr/>
            <p:nvPr userDrawn="1"/>
          </p:nvSpPr>
          <p:spPr>
            <a:xfrm>
              <a:off x="-26338" y="297328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33" name="kasserolle"/>
            <p:cNvPicPr>
              <a:picLocks noChangeAspect="1"/>
            </p:cNvPicPr>
            <p:nvPr userDrawn="1"/>
          </p:nvPicPr>
          <p:blipFill>
            <a:blip r:embed="rId8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6338" y="2973280"/>
              <a:ext cx="1152000" cy="1152000"/>
            </a:xfrm>
            <a:prstGeom prst="rect">
              <a:avLst/>
            </a:prstGeom>
          </p:spPr>
        </p:pic>
      </p:grpSp>
      <p:grpSp>
        <p:nvGrpSpPr>
          <p:cNvPr id="234" name="linkedin" hidden="1"/>
          <p:cNvGrpSpPr/>
          <p:nvPr userDrawn="1"/>
        </p:nvGrpSpPr>
        <p:grpSpPr>
          <a:xfrm>
            <a:off x="5328000" y="2661000"/>
            <a:ext cx="1536000" cy="1536000"/>
            <a:chOff x="1243043" y="2477205"/>
            <a:chExt cx="1152000" cy="1152000"/>
          </a:xfrm>
        </p:grpSpPr>
        <p:sp>
          <p:nvSpPr>
            <p:cNvPr id="235" name="linkedin_hvit_sirkel"/>
            <p:cNvSpPr/>
            <p:nvPr userDrawn="1"/>
          </p:nvSpPr>
          <p:spPr>
            <a:xfrm>
              <a:off x="1243043" y="247720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36" name="linkedin"/>
            <p:cNvPicPr>
              <a:picLocks noChangeAspect="1"/>
            </p:cNvPicPr>
            <p:nvPr userDrawn="1"/>
          </p:nvPicPr>
          <p:blipFill>
            <a:blip r:embed="rId8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3043" y="2477205"/>
              <a:ext cx="1152000" cy="1152000"/>
            </a:xfrm>
            <a:prstGeom prst="rect">
              <a:avLst/>
            </a:prstGeom>
          </p:spPr>
        </p:pic>
      </p:grpSp>
      <p:grpSp>
        <p:nvGrpSpPr>
          <p:cNvPr id="237" name="megafon" hidden="1"/>
          <p:cNvGrpSpPr/>
          <p:nvPr userDrawn="1"/>
        </p:nvGrpSpPr>
        <p:grpSpPr>
          <a:xfrm>
            <a:off x="5328000" y="2661000"/>
            <a:ext cx="1536000" cy="1536000"/>
            <a:chOff x="638793" y="3878799"/>
            <a:chExt cx="1152000" cy="1152000"/>
          </a:xfrm>
        </p:grpSpPr>
        <p:sp>
          <p:nvSpPr>
            <p:cNvPr id="238" name="megafon_hvit_sirkel"/>
            <p:cNvSpPr/>
            <p:nvPr userDrawn="1"/>
          </p:nvSpPr>
          <p:spPr>
            <a:xfrm>
              <a:off x="638793" y="387879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39" name="megafon"/>
            <p:cNvPicPr>
              <a:picLocks noChangeAspect="1"/>
            </p:cNvPicPr>
            <p:nvPr userDrawn="1"/>
          </p:nvPicPr>
          <p:blipFill>
            <a:blip r:embed="rId8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793" y="387879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40" name="nabolag" hidden="1"/>
          <p:cNvGrpSpPr/>
          <p:nvPr userDrawn="1"/>
        </p:nvGrpSpPr>
        <p:grpSpPr>
          <a:xfrm>
            <a:off x="5328000" y="2661000"/>
            <a:ext cx="1536000" cy="1536000"/>
            <a:chOff x="688735" y="2612488"/>
            <a:chExt cx="1152000" cy="1152000"/>
          </a:xfrm>
        </p:grpSpPr>
        <p:sp>
          <p:nvSpPr>
            <p:cNvPr id="241" name="nabolag_hvit_sirkel"/>
            <p:cNvSpPr/>
            <p:nvPr userDrawn="1"/>
          </p:nvSpPr>
          <p:spPr>
            <a:xfrm>
              <a:off x="688735" y="261248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42" name="nabolag"/>
            <p:cNvPicPr>
              <a:picLocks noChangeAspect="1"/>
            </p:cNvPicPr>
            <p:nvPr userDrawn="1"/>
          </p:nvPicPr>
          <p:blipFill>
            <a:blip r:embed="rId8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735" y="261248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43" name="blyant" hidden="1"/>
          <p:cNvGrpSpPr/>
          <p:nvPr userDrawn="1"/>
        </p:nvGrpSpPr>
        <p:grpSpPr>
          <a:xfrm>
            <a:off x="5328000" y="2661000"/>
            <a:ext cx="1536000" cy="1536000"/>
            <a:chOff x="727381" y="2699229"/>
            <a:chExt cx="1152000" cy="1152000"/>
          </a:xfrm>
        </p:grpSpPr>
        <p:sp>
          <p:nvSpPr>
            <p:cNvPr id="244" name="blyant_hvit_sirkel"/>
            <p:cNvSpPr/>
            <p:nvPr userDrawn="1"/>
          </p:nvSpPr>
          <p:spPr>
            <a:xfrm>
              <a:off x="727381" y="269922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45" name="blyant"/>
            <p:cNvPicPr>
              <a:picLocks noChangeAspect="1"/>
            </p:cNvPicPr>
            <p:nvPr userDrawn="1"/>
          </p:nvPicPr>
          <p:blipFill>
            <a:blip r:embed="rId8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381" y="269922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46" name="planlosning" hidden="1"/>
          <p:cNvGrpSpPr/>
          <p:nvPr userDrawn="1"/>
        </p:nvGrpSpPr>
        <p:grpSpPr>
          <a:xfrm>
            <a:off x="5328000" y="2661000"/>
            <a:ext cx="1536000" cy="1536000"/>
            <a:chOff x="639984" y="2307969"/>
            <a:chExt cx="1152000" cy="1152000"/>
          </a:xfrm>
        </p:grpSpPr>
        <p:sp>
          <p:nvSpPr>
            <p:cNvPr id="247" name="planlosning_hvit_sirkel"/>
            <p:cNvSpPr/>
            <p:nvPr userDrawn="1"/>
          </p:nvSpPr>
          <p:spPr>
            <a:xfrm>
              <a:off x="639984" y="230796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48" name="planlosning"/>
            <p:cNvPicPr>
              <a:picLocks noChangeAspect="1"/>
            </p:cNvPicPr>
            <p:nvPr userDrawn="1"/>
          </p:nvPicPr>
          <p:blipFill>
            <a:blip r:embed="rId8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9984" y="230796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49" name="person" hidden="1"/>
          <p:cNvGrpSpPr/>
          <p:nvPr userDrawn="1"/>
        </p:nvGrpSpPr>
        <p:grpSpPr>
          <a:xfrm>
            <a:off x="5328000" y="2661000"/>
            <a:ext cx="1536000" cy="1536000"/>
            <a:chOff x="2675344" y="3338498"/>
            <a:chExt cx="1152000" cy="1152000"/>
          </a:xfrm>
        </p:grpSpPr>
        <p:sp>
          <p:nvSpPr>
            <p:cNvPr id="250" name="person_hvit_sirkel"/>
            <p:cNvSpPr/>
            <p:nvPr userDrawn="1"/>
          </p:nvSpPr>
          <p:spPr>
            <a:xfrm>
              <a:off x="2675344" y="333849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51" name="person"/>
            <p:cNvPicPr>
              <a:picLocks noChangeAspect="1"/>
            </p:cNvPicPr>
            <p:nvPr userDrawn="1"/>
          </p:nvPicPr>
          <p:blipFill>
            <a:blip r:embed="rId9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75344" y="333849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52" name="kube" hidden="1"/>
          <p:cNvGrpSpPr/>
          <p:nvPr userDrawn="1"/>
        </p:nvGrpSpPr>
        <p:grpSpPr>
          <a:xfrm>
            <a:off x="5328000" y="2661000"/>
            <a:ext cx="1536000" cy="1536000"/>
            <a:chOff x="736192" y="2353689"/>
            <a:chExt cx="1152000" cy="1152000"/>
          </a:xfrm>
        </p:grpSpPr>
        <p:sp>
          <p:nvSpPr>
            <p:cNvPr id="253" name="kube_hvit_sirkel"/>
            <p:cNvSpPr/>
            <p:nvPr userDrawn="1"/>
          </p:nvSpPr>
          <p:spPr>
            <a:xfrm>
              <a:off x="736192" y="235368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54" name="kube"/>
            <p:cNvPicPr>
              <a:picLocks noChangeAspect="1"/>
            </p:cNvPicPr>
            <p:nvPr userDrawn="1"/>
          </p:nvPicPr>
          <p:blipFill>
            <a:blip r:embed="rId9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6192" y="235368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55" name="hussolgt" hidden="1"/>
          <p:cNvGrpSpPr/>
          <p:nvPr userDrawn="1"/>
        </p:nvGrpSpPr>
        <p:grpSpPr>
          <a:xfrm>
            <a:off x="5328000" y="2661000"/>
            <a:ext cx="1536000" cy="1536000"/>
            <a:chOff x="3093763" y="1191752"/>
            <a:chExt cx="1152000" cy="1152000"/>
          </a:xfrm>
        </p:grpSpPr>
        <p:sp>
          <p:nvSpPr>
            <p:cNvPr id="256" name="hussolgt_hvit_sirkel"/>
            <p:cNvSpPr/>
            <p:nvPr userDrawn="1"/>
          </p:nvSpPr>
          <p:spPr>
            <a:xfrm>
              <a:off x="3093763" y="119175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57" name="hussolgt"/>
            <p:cNvPicPr>
              <a:picLocks noChangeAspect="1"/>
            </p:cNvPicPr>
            <p:nvPr userDrawn="1"/>
          </p:nvPicPr>
          <p:blipFill>
            <a:blip r:embed="rId9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3763" y="1191752"/>
              <a:ext cx="1152000" cy="1152000"/>
            </a:xfrm>
            <a:prstGeom prst="rect">
              <a:avLst/>
            </a:prstGeom>
          </p:spPr>
        </p:pic>
      </p:grpSp>
      <p:grpSp>
        <p:nvGrpSpPr>
          <p:cNvPr id="258" name="vekkerklokke" hidden="1"/>
          <p:cNvGrpSpPr/>
          <p:nvPr userDrawn="1"/>
        </p:nvGrpSpPr>
        <p:grpSpPr>
          <a:xfrm>
            <a:off x="5328000" y="2661000"/>
            <a:ext cx="1536000" cy="1536000"/>
            <a:chOff x="1022402" y="2651248"/>
            <a:chExt cx="1152000" cy="1152000"/>
          </a:xfrm>
        </p:grpSpPr>
        <p:sp>
          <p:nvSpPr>
            <p:cNvPr id="259" name="vekkerklokke_hvit_sirkel"/>
            <p:cNvSpPr/>
            <p:nvPr userDrawn="1"/>
          </p:nvSpPr>
          <p:spPr>
            <a:xfrm>
              <a:off x="1022402" y="265124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60" name="vekkerklokke"/>
            <p:cNvPicPr>
              <a:picLocks noChangeAspect="1"/>
            </p:cNvPicPr>
            <p:nvPr userDrawn="1"/>
          </p:nvPicPr>
          <p:blipFill>
            <a:blip r:embed="rId9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2" y="265124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61" name="sofa" hidden="1"/>
          <p:cNvGrpSpPr/>
          <p:nvPr userDrawn="1"/>
        </p:nvGrpSpPr>
        <p:grpSpPr>
          <a:xfrm>
            <a:off x="5328000" y="2661000"/>
            <a:ext cx="1536000" cy="1536000"/>
            <a:chOff x="164237" y="3574670"/>
            <a:chExt cx="1152000" cy="1152000"/>
          </a:xfrm>
        </p:grpSpPr>
        <p:sp>
          <p:nvSpPr>
            <p:cNvPr id="262" name="sofa_hvit_sirkel"/>
            <p:cNvSpPr/>
            <p:nvPr userDrawn="1"/>
          </p:nvSpPr>
          <p:spPr>
            <a:xfrm>
              <a:off x="164237" y="357467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63" name="sofa"/>
            <p:cNvPicPr>
              <a:picLocks noChangeAspect="1"/>
            </p:cNvPicPr>
            <p:nvPr userDrawn="1"/>
          </p:nvPicPr>
          <p:blipFill>
            <a:blip r:embed="rId9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4237" y="3574670"/>
              <a:ext cx="1152000" cy="1152000"/>
            </a:xfrm>
            <a:prstGeom prst="rect">
              <a:avLst/>
            </a:prstGeom>
          </p:spPr>
        </p:pic>
      </p:grpSp>
      <p:grpSp>
        <p:nvGrpSpPr>
          <p:cNvPr id="264" name="hustilsalgs" hidden="1"/>
          <p:cNvGrpSpPr/>
          <p:nvPr userDrawn="1"/>
        </p:nvGrpSpPr>
        <p:grpSpPr>
          <a:xfrm>
            <a:off x="5328000" y="2661000"/>
            <a:ext cx="1536000" cy="1536000"/>
            <a:chOff x="1437661" y="3004110"/>
            <a:chExt cx="1152000" cy="1152000"/>
          </a:xfrm>
        </p:grpSpPr>
        <p:sp>
          <p:nvSpPr>
            <p:cNvPr id="265" name="hustilsalgs_hvit_sirkel"/>
            <p:cNvSpPr/>
            <p:nvPr userDrawn="1"/>
          </p:nvSpPr>
          <p:spPr>
            <a:xfrm>
              <a:off x="1437661" y="300411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66" name="hustilsalgs"/>
            <p:cNvPicPr>
              <a:picLocks noChangeAspect="1"/>
            </p:cNvPicPr>
            <p:nvPr userDrawn="1"/>
          </p:nvPicPr>
          <p:blipFill>
            <a:blip r:embed="rId9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7661" y="3004110"/>
              <a:ext cx="1152000" cy="1152000"/>
            </a:xfrm>
            <a:prstGeom prst="rect">
              <a:avLst/>
            </a:prstGeom>
          </p:spPr>
        </p:pic>
      </p:grpSp>
      <p:grpSp>
        <p:nvGrpSpPr>
          <p:cNvPr id="267" name="blomst" hidden="1"/>
          <p:cNvGrpSpPr/>
          <p:nvPr userDrawn="1"/>
        </p:nvGrpSpPr>
        <p:grpSpPr>
          <a:xfrm>
            <a:off x="5328000" y="2661000"/>
            <a:ext cx="1536000" cy="1536000"/>
            <a:chOff x="7877450" y="1261535"/>
            <a:chExt cx="1152000" cy="1152000"/>
          </a:xfrm>
        </p:grpSpPr>
        <p:sp>
          <p:nvSpPr>
            <p:cNvPr id="268" name="blomst_hvit_sirkel"/>
            <p:cNvSpPr/>
            <p:nvPr userDrawn="1"/>
          </p:nvSpPr>
          <p:spPr>
            <a:xfrm>
              <a:off x="7877450" y="126153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69" name="blomst"/>
            <p:cNvPicPr>
              <a:picLocks noChangeAspect="1"/>
            </p:cNvPicPr>
            <p:nvPr userDrawn="1"/>
          </p:nvPicPr>
          <p:blipFill>
            <a:blip r:embed="rId9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7450" y="1261535"/>
              <a:ext cx="1152000" cy="1152000"/>
            </a:xfrm>
            <a:prstGeom prst="rect">
              <a:avLst/>
            </a:prstGeom>
          </p:spPr>
        </p:pic>
      </p:grpSp>
      <p:grpSp>
        <p:nvGrpSpPr>
          <p:cNvPr id="270" name="twitter" hidden="1"/>
          <p:cNvGrpSpPr/>
          <p:nvPr userDrawn="1"/>
        </p:nvGrpSpPr>
        <p:grpSpPr>
          <a:xfrm>
            <a:off x="5328000" y="2661000"/>
            <a:ext cx="1536000" cy="1536000"/>
            <a:chOff x="1987425" y="3381465"/>
            <a:chExt cx="1152000" cy="1152000"/>
          </a:xfrm>
        </p:grpSpPr>
        <p:sp>
          <p:nvSpPr>
            <p:cNvPr id="271" name="twitter_hvit_sirkel"/>
            <p:cNvSpPr/>
            <p:nvPr userDrawn="1"/>
          </p:nvSpPr>
          <p:spPr>
            <a:xfrm>
              <a:off x="1987425" y="3381465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72" name="twitter"/>
            <p:cNvPicPr>
              <a:picLocks noChangeAspect="1"/>
            </p:cNvPicPr>
            <p:nvPr userDrawn="1"/>
          </p:nvPicPr>
          <p:blipFill>
            <a:blip r:embed="rId9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87425" y="3381465"/>
              <a:ext cx="1152000" cy="1152000"/>
            </a:xfrm>
            <a:prstGeom prst="rect">
              <a:avLst/>
            </a:prstGeom>
          </p:spPr>
        </p:pic>
      </p:grpSp>
      <p:grpSp>
        <p:nvGrpSpPr>
          <p:cNvPr id="273" name="tre" hidden="1"/>
          <p:cNvGrpSpPr/>
          <p:nvPr userDrawn="1"/>
        </p:nvGrpSpPr>
        <p:grpSpPr>
          <a:xfrm>
            <a:off x="5328000" y="2661000"/>
            <a:ext cx="1536000" cy="1536000"/>
            <a:chOff x="2684849" y="207254"/>
            <a:chExt cx="1152000" cy="1152000"/>
          </a:xfrm>
        </p:grpSpPr>
        <p:sp>
          <p:nvSpPr>
            <p:cNvPr id="274" name="tre_hvit_sirkel"/>
            <p:cNvSpPr/>
            <p:nvPr userDrawn="1"/>
          </p:nvSpPr>
          <p:spPr>
            <a:xfrm>
              <a:off x="2684849" y="20725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75" name="tre"/>
            <p:cNvPicPr>
              <a:picLocks noChangeAspect="1"/>
            </p:cNvPicPr>
            <p:nvPr userDrawn="1"/>
          </p:nvPicPr>
          <p:blipFill>
            <a:blip r:embed="rId9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84849" y="20725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76" name="binders" hidden="1"/>
          <p:cNvGrpSpPr/>
          <p:nvPr userDrawn="1"/>
        </p:nvGrpSpPr>
        <p:grpSpPr>
          <a:xfrm>
            <a:off x="5328000" y="2661000"/>
            <a:ext cx="1536000" cy="1536000"/>
            <a:chOff x="6152087" y="3892448"/>
            <a:chExt cx="1152000" cy="1152000"/>
          </a:xfrm>
        </p:grpSpPr>
        <p:sp>
          <p:nvSpPr>
            <p:cNvPr id="277" name="binders_hvit_sirkel"/>
            <p:cNvSpPr/>
            <p:nvPr userDrawn="1"/>
          </p:nvSpPr>
          <p:spPr>
            <a:xfrm>
              <a:off x="6152087" y="389244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78" name="binders"/>
            <p:cNvPicPr>
              <a:picLocks noChangeAspect="1"/>
            </p:cNvPicPr>
            <p:nvPr userDrawn="1"/>
          </p:nvPicPr>
          <p:blipFill>
            <a:blip r:embed="rId9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2087" y="389244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79" name="kr2" hidden="1"/>
          <p:cNvGrpSpPr/>
          <p:nvPr userDrawn="1"/>
        </p:nvGrpSpPr>
        <p:grpSpPr>
          <a:xfrm>
            <a:off x="5328000" y="2661000"/>
            <a:ext cx="1536000" cy="1536000"/>
            <a:chOff x="3902874" y="114426"/>
            <a:chExt cx="1152000" cy="1152000"/>
          </a:xfrm>
        </p:grpSpPr>
        <p:sp>
          <p:nvSpPr>
            <p:cNvPr id="280" name="kr2_hvit_sirkel"/>
            <p:cNvSpPr/>
            <p:nvPr userDrawn="1"/>
          </p:nvSpPr>
          <p:spPr>
            <a:xfrm>
              <a:off x="3902874" y="11442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81" name="kr2"/>
            <p:cNvPicPr>
              <a:picLocks noChangeAspect="1"/>
            </p:cNvPicPr>
            <p:nvPr userDrawn="1"/>
          </p:nvPicPr>
          <p:blipFill>
            <a:blip r:embed="rId10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02874" y="114426"/>
              <a:ext cx="1152000" cy="1152000"/>
            </a:xfrm>
            <a:prstGeom prst="rect">
              <a:avLst/>
            </a:prstGeom>
          </p:spPr>
        </p:pic>
      </p:grpSp>
      <p:grpSp>
        <p:nvGrpSpPr>
          <p:cNvPr id="282" name="dor" hidden="1"/>
          <p:cNvGrpSpPr/>
          <p:nvPr userDrawn="1"/>
        </p:nvGrpSpPr>
        <p:grpSpPr>
          <a:xfrm>
            <a:off x="5328000" y="2661000"/>
            <a:ext cx="1536000" cy="1536000"/>
            <a:chOff x="835560" y="2399834"/>
            <a:chExt cx="1152000" cy="1152000"/>
          </a:xfrm>
        </p:grpSpPr>
        <p:sp>
          <p:nvSpPr>
            <p:cNvPr id="283" name="dor_hvit_sirkel"/>
            <p:cNvSpPr/>
            <p:nvPr userDrawn="1"/>
          </p:nvSpPr>
          <p:spPr>
            <a:xfrm>
              <a:off x="835560" y="239983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84" name="dor"/>
            <p:cNvPicPr>
              <a:picLocks noChangeAspect="1"/>
            </p:cNvPicPr>
            <p:nvPr userDrawn="1"/>
          </p:nvPicPr>
          <p:blipFill>
            <a:blip r:embed="rId10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560" y="239983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85" name="youtube" hidden="1"/>
          <p:cNvGrpSpPr/>
          <p:nvPr userDrawn="1"/>
        </p:nvGrpSpPr>
        <p:grpSpPr>
          <a:xfrm>
            <a:off x="5328000" y="2661000"/>
            <a:ext cx="1536000" cy="1536000"/>
            <a:chOff x="5504844" y="1707654"/>
            <a:chExt cx="1152000" cy="1152000"/>
          </a:xfrm>
        </p:grpSpPr>
        <p:sp>
          <p:nvSpPr>
            <p:cNvPr id="286" name="youtube_hvit_sirkel"/>
            <p:cNvSpPr/>
            <p:nvPr userDrawn="1"/>
          </p:nvSpPr>
          <p:spPr>
            <a:xfrm>
              <a:off x="5504844" y="170765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87" name="youtube"/>
            <p:cNvPicPr>
              <a:picLocks noChangeAspect="1"/>
            </p:cNvPicPr>
            <p:nvPr userDrawn="1"/>
          </p:nvPicPr>
          <p:blipFill>
            <a:blip r:embed="rId10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4844" y="170765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88" name="gravemaskin" hidden="1"/>
          <p:cNvGrpSpPr/>
          <p:nvPr userDrawn="1"/>
        </p:nvGrpSpPr>
        <p:grpSpPr>
          <a:xfrm>
            <a:off x="5328000" y="2661000"/>
            <a:ext cx="1536000" cy="1536000"/>
            <a:chOff x="5240840" y="3774938"/>
            <a:chExt cx="1152000" cy="1152000"/>
          </a:xfrm>
        </p:grpSpPr>
        <p:sp>
          <p:nvSpPr>
            <p:cNvPr id="289" name="gravemaskin_hvit_sirkel"/>
            <p:cNvSpPr/>
            <p:nvPr userDrawn="1"/>
          </p:nvSpPr>
          <p:spPr>
            <a:xfrm>
              <a:off x="5240840" y="377493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90" name="gravemaskin"/>
            <p:cNvPicPr>
              <a:picLocks noChangeAspect="1"/>
            </p:cNvPicPr>
            <p:nvPr userDrawn="1"/>
          </p:nvPicPr>
          <p:blipFill>
            <a:blip r:embed="rId10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0840" y="3774938"/>
              <a:ext cx="1152000" cy="1152000"/>
            </a:xfrm>
            <a:prstGeom prst="rect">
              <a:avLst/>
            </a:prstGeom>
          </p:spPr>
        </p:pic>
      </p:grpSp>
      <p:grpSp>
        <p:nvGrpSpPr>
          <p:cNvPr id="291" name="moped" hidden="1"/>
          <p:cNvGrpSpPr/>
          <p:nvPr userDrawn="1"/>
        </p:nvGrpSpPr>
        <p:grpSpPr>
          <a:xfrm>
            <a:off x="5328000" y="2661000"/>
            <a:ext cx="1536000" cy="1536000"/>
            <a:chOff x="249750" y="2725189"/>
            <a:chExt cx="1152000" cy="1152000"/>
          </a:xfrm>
        </p:grpSpPr>
        <p:sp>
          <p:nvSpPr>
            <p:cNvPr id="292" name="moped_hvit_sirkel"/>
            <p:cNvSpPr/>
            <p:nvPr userDrawn="1"/>
          </p:nvSpPr>
          <p:spPr>
            <a:xfrm>
              <a:off x="249750" y="272518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93" name="moped"/>
            <p:cNvPicPr>
              <a:picLocks noChangeAspect="1"/>
            </p:cNvPicPr>
            <p:nvPr userDrawn="1"/>
          </p:nvPicPr>
          <p:blipFill>
            <a:blip r:embed="rId10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9750" y="2725189"/>
              <a:ext cx="1152000" cy="1152000"/>
            </a:xfrm>
            <a:prstGeom prst="rect">
              <a:avLst/>
            </a:prstGeom>
          </p:spPr>
        </p:pic>
      </p:grpSp>
      <p:grpSp>
        <p:nvGrpSpPr>
          <p:cNvPr id="294" name="baatLiten" hidden="1"/>
          <p:cNvGrpSpPr/>
          <p:nvPr userDrawn="1"/>
        </p:nvGrpSpPr>
        <p:grpSpPr>
          <a:xfrm>
            <a:off x="5328000" y="2661000"/>
            <a:ext cx="1536000" cy="1536000"/>
            <a:chOff x="550251" y="2336104"/>
            <a:chExt cx="1152000" cy="1152000"/>
          </a:xfrm>
        </p:grpSpPr>
        <p:sp>
          <p:nvSpPr>
            <p:cNvPr id="295" name="baatLiten_hvit_sirkel"/>
            <p:cNvSpPr/>
            <p:nvPr userDrawn="1"/>
          </p:nvSpPr>
          <p:spPr>
            <a:xfrm>
              <a:off x="550251" y="233610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96" name="baatLiten"/>
            <p:cNvPicPr>
              <a:picLocks noChangeAspect="1"/>
            </p:cNvPicPr>
            <p:nvPr userDrawn="1"/>
          </p:nvPicPr>
          <p:blipFill>
            <a:blip r:embed="rId10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251" y="2336104"/>
              <a:ext cx="1152000" cy="1152000"/>
            </a:xfrm>
            <a:prstGeom prst="rect">
              <a:avLst/>
            </a:prstGeom>
          </p:spPr>
        </p:pic>
      </p:grpSp>
      <p:grpSp>
        <p:nvGrpSpPr>
          <p:cNvPr id="297" name="baatstor" hidden="1"/>
          <p:cNvGrpSpPr/>
          <p:nvPr userDrawn="1"/>
        </p:nvGrpSpPr>
        <p:grpSpPr>
          <a:xfrm>
            <a:off x="5328000" y="2661000"/>
            <a:ext cx="1536000" cy="1536000"/>
            <a:chOff x="2810989" y="3621307"/>
            <a:chExt cx="1152000" cy="1152000"/>
          </a:xfrm>
        </p:grpSpPr>
        <p:sp>
          <p:nvSpPr>
            <p:cNvPr id="298" name="baatstor_hvit_sirkel"/>
            <p:cNvSpPr/>
            <p:nvPr userDrawn="1"/>
          </p:nvSpPr>
          <p:spPr>
            <a:xfrm>
              <a:off x="2810989" y="3621307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299" name="baatstor"/>
            <p:cNvPicPr>
              <a:picLocks noChangeAspect="1"/>
            </p:cNvPicPr>
            <p:nvPr userDrawn="1"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0989" y="3621307"/>
              <a:ext cx="1152000" cy="1152000"/>
            </a:xfrm>
            <a:prstGeom prst="rect">
              <a:avLst/>
            </a:prstGeom>
          </p:spPr>
        </p:pic>
      </p:grpSp>
      <p:grpSp>
        <p:nvGrpSpPr>
          <p:cNvPr id="300" name="kaffe" hidden="1"/>
          <p:cNvGrpSpPr/>
          <p:nvPr userDrawn="1"/>
        </p:nvGrpSpPr>
        <p:grpSpPr>
          <a:xfrm>
            <a:off x="5328000" y="2661000"/>
            <a:ext cx="1536000" cy="1536000"/>
            <a:chOff x="5141046" y="61912"/>
            <a:chExt cx="1152000" cy="1152000"/>
          </a:xfrm>
        </p:grpSpPr>
        <p:sp>
          <p:nvSpPr>
            <p:cNvPr id="301" name="kaffekopp_hvit_sirkel"/>
            <p:cNvSpPr/>
            <p:nvPr userDrawn="1"/>
          </p:nvSpPr>
          <p:spPr>
            <a:xfrm>
              <a:off x="5141046" y="6191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02" name="kaffekopp"/>
            <p:cNvPicPr>
              <a:picLocks noChangeAspect="1"/>
            </p:cNvPicPr>
            <p:nvPr userDrawn="1"/>
          </p:nvPicPr>
          <p:blipFill>
            <a:blip r:embed="rId10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1046" y="6191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03" name="bobil" hidden="1"/>
          <p:cNvGrpSpPr/>
          <p:nvPr userDrawn="1"/>
        </p:nvGrpSpPr>
        <p:grpSpPr>
          <a:xfrm>
            <a:off x="5328000" y="2661000"/>
            <a:ext cx="1536000" cy="1536000"/>
            <a:chOff x="174533" y="3621307"/>
            <a:chExt cx="1152000" cy="1152000"/>
          </a:xfrm>
        </p:grpSpPr>
        <p:sp>
          <p:nvSpPr>
            <p:cNvPr id="304" name="bobil_hvit_sirkel"/>
            <p:cNvSpPr/>
            <p:nvPr userDrawn="1"/>
          </p:nvSpPr>
          <p:spPr>
            <a:xfrm>
              <a:off x="174533" y="3621307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05" name="bobil"/>
            <p:cNvPicPr>
              <a:picLocks noChangeAspect="1"/>
            </p:cNvPicPr>
            <p:nvPr userDrawn="1"/>
          </p:nvPicPr>
          <p:blipFill>
            <a:blip r:embed="rId10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533" y="3621307"/>
              <a:ext cx="1152000" cy="1152000"/>
            </a:xfrm>
            <a:prstGeom prst="rect">
              <a:avLst/>
            </a:prstGeom>
          </p:spPr>
        </p:pic>
      </p:grpSp>
      <p:grpSp>
        <p:nvGrpSpPr>
          <p:cNvPr id="306" name="campingvogn" hidden="1"/>
          <p:cNvGrpSpPr/>
          <p:nvPr userDrawn="1"/>
        </p:nvGrpSpPr>
        <p:grpSpPr>
          <a:xfrm>
            <a:off x="5328000" y="2661000"/>
            <a:ext cx="1536000" cy="1536000"/>
            <a:chOff x="1028665" y="267558"/>
            <a:chExt cx="1152000" cy="1152000"/>
          </a:xfrm>
        </p:grpSpPr>
        <p:sp>
          <p:nvSpPr>
            <p:cNvPr id="307" name="campingvogn_hvit_sirkel"/>
            <p:cNvSpPr/>
            <p:nvPr userDrawn="1"/>
          </p:nvSpPr>
          <p:spPr>
            <a:xfrm>
              <a:off x="1028665" y="26755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08" name="campingvogn"/>
            <p:cNvPicPr>
              <a:picLocks noChangeAspect="1"/>
            </p:cNvPicPr>
            <p:nvPr userDrawn="1"/>
          </p:nvPicPr>
          <p:blipFill>
            <a:blip r:embed="rId10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8665" y="267558"/>
              <a:ext cx="1152000" cy="1152000"/>
            </a:xfrm>
            <a:prstGeom prst="rect">
              <a:avLst/>
            </a:prstGeom>
          </p:spPr>
        </p:pic>
      </p:grpSp>
      <p:grpSp>
        <p:nvGrpSpPr>
          <p:cNvPr id="309" name="knivgaffel" hidden="1"/>
          <p:cNvGrpSpPr/>
          <p:nvPr userDrawn="1"/>
        </p:nvGrpSpPr>
        <p:grpSpPr>
          <a:xfrm>
            <a:off x="5328000" y="2661000"/>
            <a:ext cx="1536000" cy="1536000"/>
            <a:chOff x="912848" y="2858969"/>
            <a:chExt cx="1152000" cy="1152000"/>
          </a:xfrm>
        </p:grpSpPr>
        <p:sp>
          <p:nvSpPr>
            <p:cNvPr id="310" name="knivgaffel_hvit_sirkel"/>
            <p:cNvSpPr/>
            <p:nvPr userDrawn="1"/>
          </p:nvSpPr>
          <p:spPr>
            <a:xfrm>
              <a:off x="912848" y="2858969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11" name="knivgaffel"/>
            <p:cNvPicPr>
              <a:picLocks noChangeAspect="1"/>
            </p:cNvPicPr>
            <p:nvPr userDrawn="1"/>
          </p:nvPicPr>
          <p:blipFill>
            <a:blip r:embed="rId1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848" y="2858969"/>
              <a:ext cx="1152000" cy="1152000"/>
            </a:xfrm>
            <a:prstGeom prst="rect">
              <a:avLst/>
            </a:prstGeom>
          </p:spPr>
        </p:pic>
      </p:grpSp>
      <p:grpSp>
        <p:nvGrpSpPr>
          <p:cNvPr id="312" name="mannmedslips" hidden="1"/>
          <p:cNvGrpSpPr/>
          <p:nvPr userDrawn="1"/>
        </p:nvGrpSpPr>
        <p:grpSpPr>
          <a:xfrm>
            <a:off x="5328000" y="2661000"/>
            <a:ext cx="1536000" cy="1536000"/>
            <a:chOff x="177956" y="1059582"/>
            <a:chExt cx="1152000" cy="1152000"/>
          </a:xfrm>
        </p:grpSpPr>
        <p:sp>
          <p:nvSpPr>
            <p:cNvPr id="313" name="mannmedslips_hvit_sirkel"/>
            <p:cNvSpPr/>
            <p:nvPr userDrawn="1"/>
          </p:nvSpPr>
          <p:spPr>
            <a:xfrm>
              <a:off x="177956" y="105958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14" name="mannmedslips"/>
            <p:cNvPicPr>
              <a:picLocks noChangeAspect="1"/>
            </p:cNvPicPr>
            <p:nvPr userDrawn="1"/>
          </p:nvPicPr>
          <p:blipFill>
            <a:blip r:embed="rId1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956" y="105958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15" name="wifi" hidden="1"/>
          <p:cNvGrpSpPr/>
          <p:nvPr userDrawn="1"/>
        </p:nvGrpSpPr>
        <p:grpSpPr>
          <a:xfrm>
            <a:off x="5328000" y="2661000"/>
            <a:ext cx="1536000" cy="1536000"/>
            <a:chOff x="3742406" y="3844742"/>
            <a:chExt cx="1152000" cy="1152000"/>
          </a:xfrm>
        </p:grpSpPr>
        <p:sp>
          <p:nvSpPr>
            <p:cNvPr id="316" name="wifi_hvit_sirkel"/>
            <p:cNvSpPr/>
            <p:nvPr userDrawn="1"/>
          </p:nvSpPr>
          <p:spPr>
            <a:xfrm>
              <a:off x="3742406" y="384474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17" name="wifi"/>
            <p:cNvPicPr>
              <a:picLocks noChangeAspect="1"/>
            </p:cNvPicPr>
            <p:nvPr userDrawn="1"/>
          </p:nvPicPr>
          <p:blipFill>
            <a:blip r:embed="rId1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42406" y="384474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18" name="timeglass" hidden="1"/>
          <p:cNvGrpSpPr/>
          <p:nvPr userDrawn="1"/>
        </p:nvGrpSpPr>
        <p:grpSpPr>
          <a:xfrm>
            <a:off x="5328000" y="2661000"/>
            <a:ext cx="1536000" cy="1536000"/>
            <a:chOff x="6855658" y="529964"/>
            <a:chExt cx="1152000" cy="1152000"/>
          </a:xfrm>
        </p:grpSpPr>
        <p:sp>
          <p:nvSpPr>
            <p:cNvPr id="319" name="timeglass_hvit_sirkel"/>
            <p:cNvSpPr/>
            <p:nvPr userDrawn="1"/>
          </p:nvSpPr>
          <p:spPr>
            <a:xfrm>
              <a:off x="6855658" y="52996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20" name="timeglass"/>
            <p:cNvPicPr>
              <a:picLocks noChangeAspect="1"/>
            </p:cNvPicPr>
            <p:nvPr userDrawn="1"/>
          </p:nvPicPr>
          <p:blipFill>
            <a:blip r:embed="rId1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5658" y="529964"/>
              <a:ext cx="1152000" cy="1152000"/>
            </a:xfrm>
            <a:prstGeom prst="rect">
              <a:avLst/>
            </a:prstGeom>
          </p:spPr>
        </p:pic>
      </p:grpSp>
      <p:grpSp>
        <p:nvGrpSpPr>
          <p:cNvPr id="321" name="laptop" hidden="1"/>
          <p:cNvGrpSpPr/>
          <p:nvPr userDrawn="1"/>
        </p:nvGrpSpPr>
        <p:grpSpPr>
          <a:xfrm>
            <a:off x="5328000" y="2661000"/>
            <a:ext cx="1536000" cy="1536000"/>
            <a:chOff x="1369992" y="3991500"/>
            <a:chExt cx="1152000" cy="1152000"/>
          </a:xfrm>
        </p:grpSpPr>
        <p:sp>
          <p:nvSpPr>
            <p:cNvPr id="322" name="laptop_hvit_sirkel"/>
            <p:cNvSpPr/>
            <p:nvPr userDrawn="1"/>
          </p:nvSpPr>
          <p:spPr>
            <a:xfrm>
              <a:off x="1369992" y="3991500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23" name="laptop"/>
            <p:cNvPicPr>
              <a:picLocks noChangeAspect="1"/>
            </p:cNvPicPr>
            <p:nvPr userDrawn="1"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9992" y="3991500"/>
              <a:ext cx="1152000" cy="1152000"/>
            </a:xfrm>
            <a:prstGeom prst="rect">
              <a:avLst/>
            </a:prstGeom>
          </p:spPr>
        </p:pic>
      </p:grpSp>
      <p:grpSp>
        <p:nvGrpSpPr>
          <p:cNvPr id="324" name="lastebil" hidden="1"/>
          <p:cNvGrpSpPr/>
          <p:nvPr userDrawn="1"/>
        </p:nvGrpSpPr>
        <p:grpSpPr>
          <a:xfrm>
            <a:off x="5328000" y="2661000"/>
            <a:ext cx="1536000" cy="1536000"/>
            <a:chOff x="7747242" y="433051"/>
            <a:chExt cx="1152000" cy="1152000"/>
          </a:xfrm>
        </p:grpSpPr>
        <p:sp>
          <p:nvSpPr>
            <p:cNvPr id="325" name="lastebil_hvit_sirkel"/>
            <p:cNvSpPr/>
            <p:nvPr userDrawn="1"/>
          </p:nvSpPr>
          <p:spPr>
            <a:xfrm>
              <a:off x="7747242" y="433051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26" name="lastebil"/>
            <p:cNvPicPr>
              <a:picLocks noChangeAspect="1"/>
            </p:cNvPicPr>
            <p:nvPr userDrawn="1"/>
          </p:nvPicPr>
          <p:blipFill>
            <a:blip r:embed="rId1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7242" y="433051"/>
              <a:ext cx="1152000" cy="1152000"/>
            </a:xfrm>
            <a:prstGeom prst="rect">
              <a:avLst/>
            </a:prstGeom>
          </p:spPr>
        </p:pic>
      </p:grpSp>
      <p:grpSp>
        <p:nvGrpSpPr>
          <p:cNvPr id="327" name="lampe" hidden="1"/>
          <p:cNvGrpSpPr/>
          <p:nvPr userDrawn="1"/>
        </p:nvGrpSpPr>
        <p:grpSpPr>
          <a:xfrm>
            <a:off x="5328000" y="2661000"/>
            <a:ext cx="1536000" cy="1536000"/>
            <a:chOff x="-23783" y="339502"/>
            <a:chExt cx="1152000" cy="1152000"/>
          </a:xfrm>
        </p:grpSpPr>
        <p:sp>
          <p:nvSpPr>
            <p:cNvPr id="328" name="lampe_hvit_sirkel"/>
            <p:cNvSpPr/>
            <p:nvPr userDrawn="1"/>
          </p:nvSpPr>
          <p:spPr>
            <a:xfrm>
              <a:off x="-23783" y="33950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29" name="lampe"/>
            <p:cNvPicPr>
              <a:picLocks noChangeAspect="1"/>
            </p:cNvPicPr>
            <p:nvPr userDrawn="1"/>
          </p:nvPicPr>
          <p:blipFill>
            <a:blip r:embed="rId1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3783" y="33950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30" name="motorsykkel" hidden="1"/>
          <p:cNvGrpSpPr/>
          <p:nvPr userDrawn="1"/>
        </p:nvGrpSpPr>
        <p:grpSpPr>
          <a:xfrm>
            <a:off x="5328000" y="2661000"/>
            <a:ext cx="1536000" cy="1536000"/>
            <a:chOff x="7217672" y="3316448"/>
            <a:chExt cx="1152000" cy="1152000"/>
          </a:xfrm>
        </p:grpSpPr>
        <p:sp>
          <p:nvSpPr>
            <p:cNvPr id="331" name="motorsykkel_hvit_sirkel"/>
            <p:cNvSpPr/>
            <p:nvPr userDrawn="1"/>
          </p:nvSpPr>
          <p:spPr>
            <a:xfrm>
              <a:off x="7217672" y="331644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32" name="motorsykkel"/>
            <p:cNvPicPr>
              <a:picLocks noChangeAspect="1"/>
            </p:cNvPicPr>
            <p:nvPr userDrawn="1"/>
          </p:nvPicPr>
          <p:blipFill>
            <a:blip r:embed="rId1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672" y="3316448"/>
              <a:ext cx="1152000" cy="1152000"/>
            </a:xfrm>
            <a:prstGeom prst="rect">
              <a:avLst/>
            </a:prstGeom>
          </p:spPr>
        </p:pic>
      </p:grpSp>
      <p:grpSp>
        <p:nvGrpSpPr>
          <p:cNvPr id="333" name="nokkelhull" hidden="1"/>
          <p:cNvGrpSpPr/>
          <p:nvPr userDrawn="1"/>
        </p:nvGrpSpPr>
        <p:grpSpPr>
          <a:xfrm>
            <a:off x="5328000" y="2661000"/>
            <a:ext cx="1536000" cy="1536000"/>
            <a:chOff x="7334464" y="2478922"/>
            <a:chExt cx="1152000" cy="1152000"/>
          </a:xfrm>
        </p:grpSpPr>
        <p:sp>
          <p:nvSpPr>
            <p:cNvPr id="334" name="nokkelhull_hvit_sirkel"/>
            <p:cNvSpPr/>
            <p:nvPr userDrawn="1"/>
          </p:nvSpPr>
          <p:spPr>
            <a:xfrm>
              <a:off x="7334464" y="247892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35" name="nokkelhull"/>
            <p:cNvPicPr>
              <a:picLocks noChangeAspect="1"/>
            </p:cNvPicPr>
            <p:nvPr userDrawn="1"/>
          </p:nvPicPr>
          <p:blipFill>
            <a:blip r:embed="rId1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34464" y="247892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36" name="prosent" hidden="1"/>
          <p:cNvGrpSpPr/>
          <p:nvPr userDrawn="1"/>
        </p:nvGrpSpPr>
        <p:grpSpPr>
          <a:xfrm>
            <a:off x="5328000" y="2661000"/>
            <a:ext cx="1536000" cy="1536000"/>
            <a:chOff x="1076833" y="3549363"/>
            <a:chExt cx="1152000" cy="1152000"/>
          </a:xfrm>
        </p:grpSpPr>
        <p:sp>
          <p:nvSpPr>
            <p:cNvPr id="337" name="prosent_hvit_sirkel"/>
            <p:cNvSpPr/>
            <p:nvPr userDrawn="1"/>
          </p:nvSpPr>
          <p:spPr>
            <a:xfrm>
              <a:off x="1076833" y="3549363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38" name="prosent"/>
            <p:cNvPicPr>
              <a:picLocks noChangeAspect="1"/>
            </p:cNvPicPr>
            <p:nvPr userDrawn="1"/>
          </p:nvPicPr>
          <p:blipFill>
            <a:blip r:embed="rId1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6833" y="3549363"/>
              <a:ext cx="1152000" cy="1152000"/>
            </a:xfrm>
            <a:prstGeom prst="rect">
              <a:avLst/>
            </a:prstGeom>
          </p:spPr>
        </p:pic>
      </p:grpSp>
      <p:grpSp>
        <p:nvGrpSpPr>
          <p:cNvPr id="339" name="skiftnokkel" hidden="1"/>
          <p:cNvGrpSpPr/>
          <p:nvPr userDrawn="1"/>
        </p:nvGrpSpPr>
        <p:grpSpPr>
          <a:xfrm>
            <a:off x="5328000" y="2661000"/>
            <a:ext cx="1536000" cy="1536000"/>
            <a:chOff x="4500056" y="3538094"/>
            <a:chExt cx="1152000" cy="1152000"/>
          </a:xfrm>
        </p:grpSpPr>
        <p:sp>
          <p:nvSpPr>
            <p:cNvPr id="340" name="skiftnokkel_hvit_sirkel"/>
            <p:cNvSpPr/>
            <p:nvPr userDrawn="1"/>
          </p:nvSpPr>
          <p:spPr>
            <a:xfrm>
              <a:off x="4500056" y="353809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41" name="skiftnokkel"/>
            <p:cNvPicPr>
              <a:picLocks noChangeAspect="1"/>
            </p:cNvPicPr>
            <p:nvPr userDrawn="1"/>
          </p:nvPicPr>
          <p:blipFill>
            <a:blip r:embed="rId1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00056" y="3538094"/>
              <a:ext cx="1152000" cy="1152000"/>
            </a:xfrm>
            <a:prstGeom prst="rect">
              <a:avLst/>
            </a:prstGeom>
          </p:spPr>
        </p:pic>
      </p:grpSp>
      <p:grpSp>
        <p:nvGrpSpPr>
          <p:cNvPr id="342" name="snoscooter" hidden="1"/>
          <p:cNvGrpSpPr/>
          <p:nvPr userDrawn="1"/>
        </p:nvGrpSpPr>
        <p:grpSpPr>
          <a:xfrm>
            <a:off x="5328000" y="2661000"/>
            <a:ext cx="1536000" cy="1536000"/>
            <a:chOff x="549032" y="3006993"/>
            <a:chExt cx="1152000" cy="1152000"/>
          </a:xfrm>
        </p:grpSpPr>
        <p:sp>
          <p:nvSpPr>
            <p:cNvPr id="343" name="snoscooter_hvit_sirkel"/>
            <p:cNvSpPr/>
            <p:nvPr userDrawn="1"/>
          </p:nvSpPr>
          <p:spPr>
            <a:xfrm>
              <a:off x="549032" y="3006993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44" name="snoscooter"/>
            <p:cNvPicPr>
              <a:picLocks noChangeAspect="1"/>
            </p:cNvPicPr>
            <p:nvPr userDrawn="1"/>
          </p:nvPicPr>
          <p:blipFill>
            <a:blip r:embed="rId1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032" y="3006993"/>
              <a:ext cx="1152000" cy="1152000"/>
            </a:xfrm>
            <a:prstGeom prst="rect">
              <a:avLst/>
            </a:prstGeom>
          </p:spPr>
        </p:pic>
      </p:grpSp>
      <p:grpSp>
        <p:nvGrpSpPr>
          <p:cNvPr id="345" name="studenthatt" hidden="1"/>
          <p:cNvGrpSpPr/>
          <p:nvPr userDrawn="1"/>
        </p:nvGrpSpPr>
        <p:grpSpPr>
          <a:xfrm>
            <a:off x="5328000" y="2661000"/>
            <a:ext cx="1536000" cy="1536000"/>
            <a:chOff x="4283968" y="2694914"/>
            <a:chExt cx="1152000" cy="1152000"/>
          </a:xfrm>
        </p:grpSpPr>
        <p:sp>
          <p:nvSpPr>
            <p:cNvPr id="346" name="studenthatt_hvit_sirkel"/>
            <p:cNvSpPr/>
            <p:nvPr userDrawn="1"/>
          </p:nvSpPr>
          <p:spPr>
            <a:xfrm>
              <a:off x="4283968" y="2694914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47" name="studenthatt"/>
            <p:cNvPicPr>
              <a:picLocks noChangeAspect="1"/>
            </p:cNvPicPr>
            <p:nvPr userDrawn="1"/>
          </p:nvPicPr>
          <p:blipFill>
            <a:blip r:embed="rId1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3968" y="2694914"/>
              <a:ext cx="1152000" cy="1152000"/>
            </a:xfrm>
            <a:prstGeom prst="rect">
              <a:avLst/>
            </a:prstGeom>
          </p:spPr>
        </p:pic>
      </p:grpSp>
      <p:grpSp>
        <p:nvGrpSpPr>
          <p:cNvPr id="348" name="traktor" hidden="1"/>
          <p:cNvGrpSpPr/>
          <p:nvPr userDrawn="1"/>
        </p:nvGrpSpPr>
        <p:grpSpPr>
          <a:xfrm>
            <a:off x="5328000" y="2661000"/>
            <a:ext cx="1536000" cy="1536000"/>
            <a:chOff x="5900888" y="3054922"/>
            <a:chExt cx="1152000" cy="1152000"/>
          </a:xfrm>
        </p:grpSpPr>
        <p:sp>
          <p:nvSpPr>
            <p:cNvPr id="349" name="traktor_hvit_sirkel"/>
            <p:cNvSpPr/>
            <p:nvPr userDrawn="1"/>
          </p:nvSpPr>
          <p:spPr>
            <a:xfrm>
              <a:off x="5900888" y="305492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50" name="traktor"/>
            <p:cNvPicPr>
              <a:picLocks noChangeAspect="1"/>
            </p:cNvPicPr>
            <p:nvPr userDrawn="1"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0888" y="3054922"/>
              <a:ext cx="1152000" cy="1152000"/>
            </a:xfrm>
            <a:prstGeom prst="rect">
              <a:avLst/>
            </a:prstGeom>
          </p:spPr>
        </p:pic>
      </p:grpSp>
      <p:grpSp>
        <p:nvGrpSpPr>
          <p:cNvPr id="351" name="truck" hidden="1"/>
          <p:cNvGrpSpPr/>
          <p:nvPr userDrawn="1"/>
        </p:nvGrpSpPr>
        <p:grpSpPr>
          <a:xfrm>
            <a:off x="5328000" y="2661000"/>
            <a:ext cx="1536000" cy="1536000"/>
            <a:chOff x="6725720" y="1779598"/>
            <a:chExt cx="1152000" cy="1152000"/>
          </a:xfrm>
        </p:grpSpPr>
        <p:sp>
          <p:nvSpPr>
            <p:cNvPr id="352" name="truck_hvit_sirkel"/>
            <p:cNvSpPr/>
            <p:nvPr userDrawn="1"/>
          </p:nvSpPr>
          <p:spPr>
            <a:xfrm>
              <a:off x="6725720" y="1779598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53" name="truck"/>
            <p:cNvPicPr>
              <a:picLocks noChangeAspect="1"/>
            </p:cNvPicPr>
            <p:nvPr userDrawn="1"/>
          </p:nvPicPr>
          <p:blipFill>
            <a:blip r:embed="rId1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25720" y="1779598"/>
              <a:ext cx="1152000" cy="1152000"/>
            </a:xfrm>
            <a:prstGeom prst="rect">
              <a:avLst/>
            </a:prstGeom>
          </p:spPr>
        </p:pic>
      </p:grpSp>
      <p:grpSp>
        <p:nvGrpSpPr>
          <p:cNvPr id="354" name="varebil" hidden="1"/>
          <p:cNvGrpSpPr/>
          <p:nvPr userDrawn="1"/>
        </p:nvGrpSpPr>
        <p:grpSpPr>
          <a:xfrm>
            <a:off x="5328000" y="2661000"/>
            <a:ext cx="1536000" cy="1536000"/>
            <a:chOff x="5076056" y="2334906"/>
            <a:chExt cx="1152000" cy="1152000"/>
          </a:xfrm>
        </p:grpSpPr>
        <p:sp>
          <p:nvSpPr>
            <p:cNvPr id="355" name="varebil_hvit_sirkel"/>
            <p:cNvSpPr/>
            <p:nvPr userDrawn="1"/>
          </p:nvSpPr>
          <p:spPr>
            <a:xfrm>
              <a:off x="5076056" y="2334906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56" name="varebil"/>
            <p:cNvPicPr>
              <a:picLocks noChangeAspect="1"/>
            </p:cNvPicPr>
            <p:nvPr userDrawn="1"/>
          </p:nvPicPr>
          <p:blipFill>
            <a:blip r:embed="rId1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6056" y="2334906"/>
              <a:ext cx="1152000" cy="1152000"/>
            </a:xfrm>
            <a:prstGeom prst="rect">
              <a:avLst/>
            </a:prstGeom>
          </p:spPr>
        </p:pic>
      </p:grpSp>
      <p:grpSp>
        <p:nvGrpSpPr>
          <p:cNvPr id="357" name="skjold" hidden="1"/>
          <p:cNvGrpSpPr/>
          <p:nvPr userDrawn="1"/>
        </p:nvGrpSpPr>
        <p:grpSpPr>
          <a:xfrm>
            <a:off x="5328000" y="2661000"/>
            <a:ext cx="1536000" cy="1536000"/>
            <a:chOff x="5868144" y="1059582"/>
            <a:chExt cx="1152000" cy="1152000"/>
          </a:xfrm>
        </p:grpSpPr>
        <p:sp>
          <p:nvSpPr>
            <p:cNvPr id="358" name="skjold_hvit_sirkel"/>
            <p:cNvSpPr/>
            <p:nvPr userDrawn="1"/>
          </p:nvSpPr>
          <p:spPr>
            <a:xfrm>
              <a:off x="5868144" y="1059582"/>
              <a:ext cx="1152000" cy="115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912"/>
              <a:endParaRPr lang="nb-NO" sz="1867">
                <a:solidFill>
                  <a:prstClr val="white"/>
                </a:solidFill>
              </a:endParaRPr>
            </a:p>
          </p:txBody>
        </p:sp>
        <p:pic>
          <p:nvPicPr>
            <p:cNvPr id="359" name="skjold"/>
            <p:cNvPicPr>
              <a:picLocks noChangeAspect="1"/>
            </p:cNvPicPr>
            <p:nvPr userDrawn="1"/>
          </p:nvPicPr>
          <p:blipFill>
            <a:blip r:embed="rId1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8144" y="1059582"/>
              <a:ext cx="1152000" cy="1152000"/>
            </a:xfrm>
            <a:prstGeom prst="rect">
              <a:avLst/>
            </a:prstGeom>
          </p:spPr>
        </p:pic>
      </p:grpSp>
      <p:pic>
        <p:nvPicPr>
          <p:cNvPr id="360" name="Picture 359" descr="rgb_SB1_BV_verti_pos.png"/>
          <p:cNvPicPr>
            <a:picLocks noChangeAspect="1"/>
          </p:cNvPicPr>
          <p:nvPr userDrawn="1"/>
        </p:nvPicPr>
        <p:blipFill>
          <a:blip r:embed="rId1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363" y="8220407"/>
            <a:ext cx="2549536" cy="731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985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726" r:id="rId29"/>
  </p:sldLayoutIdLst>
  <p:hf hdr="0" ftr="0"/>
  <p:txStyles>
    <p:titleStyle>
      <a:lvl1pPr algn="l" defTabSz="456979" rtl="0" eaLnBrk="1" latinLnBrk="0" hangingPunct="1">
        <a:lnSpc>
          <a:spcPct val="80000"/>
        </a:lnSpc>
        <a:spcBef>
          <a:spcPct val="0"/>
        </a:spcBef>
        <a:buNone/>
        <a:defRPr sz="4533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449783" indent="-449783" algn="l" defTabSz="456979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Arial" panose="020B0604020202020204" pitchFamily="34" charset="0"/>
        <a:buChar char="•"/>
        <a:defRPr sz="32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899566" indent="-449783" algn="l" defTabSz="456979" rtl="0" eaLnBrk="1" latinLnBrk="0" hangingPunct="1">
        <a:lnSpc>
          <a:spcPct val="100000"/>
        </a:lnSpc>
        <a:spcBef>
          <a:spcPts val="400"/>
        </a:spcBef>
        <a:buClr>
          <a:schemeClr val="accent4"/>
        </a:buClr>
        <a:buFont typeface="Arial" panose="020B0604020202020204" pitchFamily="34" charset="0"/>
        <a:buChar char="‒"/>
        <a:defRPr sz="28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1349349" indent="-449783" algn="l" defTabSz="456979" rtl="0" eaLnBrk="1" latinLnBrk="0" hangingPunct="1">
        <a:lnSpc>
          <a:spcPct val="10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2400" kern="1200">
          <a:solidFill>
            <a:schemeClr val="accent4"/>
          </a:solidFill>
          <a:latin typeface="+mn-lt"/>
          <a:ea typeface="+mn-ea"/>
          <a:cs typeface="+mn-cs"/>
        </a:defRPr>
      </a:lvl3pPr>
      <a:lvl4pPr marL="1799130" indent="-449783" algn="l" defTabSz="456979" rtl="0" eaLnBrk="1" latinLnBrk="0" hangingPunct="1">
        <a:lnSpc>
          <a:spcPct val="10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2000" kern="1200">
          <a:solidFill>
            <a:schemeClr val="accent4"/>
          </a:solidFill>
          <a:latin typeface="+mn-lt"/>
          <a:ea typeface="+mn-ea"/>
          <a:cs typeface="+mn-cs"/>
        </a:defRPr>
      </a:lvl4pPr>
      <a:lvl5pPr marL="2248912" indent="-449783" algn="l" defTabSz="456979" rtl="0" eaLnBrk="1" latinLnBrk="0" hangingPunct="1">
        <a:lnSpc>
          <a:spcPct val="10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1733" kern="1200">
          <a:solidFill>
            <a:schemeClr val="accent4"/>
          </a:solidFill>
          <a:latin typeface="+mn-lt"/>
          <a:ea typeface="+mn-ea"/>
          <a:cs typeface="+mn-cs"/>
        </a:defRPr>
      </a:lvl5pPr>
      <a:lvl6pPr marL="1256694" indent="-114245" algn="l" defTabSz="45697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183" indent="-114245" algn="l" defTabSz="45697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1713670" indent="-114245" algn="l" defTabSz="45697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161" indent="-114245" algn="l" defTabSz="45697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28490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456979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685470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913957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446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1370936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427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1827917" algn="l" defTabSz="4569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75735" y="830152"/>
            <a:ext cx="11040532" cy="3447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75735" y="1628777"/>
            <a:ext cx="11040532" cy="439261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790679" y="6441947"/>
            <a:ext cx="525785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377"/>
            <a:fld id="{3C963083-A88F-4A89-84DE-754FC59F7472}" type="datetime1">
              <a:rPr lang="nb-NO" smtClean="0">
                <a:solidFill>
                  <a:srgbClr val="44546A"/>
                </a:solidFill>
              </a:rPr>
              <a:t>14.01.2020</a:t>
            </a:fld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51547" y="6441947"/>
            <a:ext cx="740881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377"/>
            <a:r>
              <a:rPr lang="nb-NO" smtClean="0">
                <a:solidFill>
                  <a:srgbClr val="44546A"/>
                </a:solidFill>
              </a:rPr>
              <a:t>Lederforum</a:t>
            </a:r>
            <a:endParaRPr lang="nb-NO" dirty="0">
              <a:solidFill>
                <a:srgbClr val="44546A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93419" y="6441947"/>
            <a:ext cx="153888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pPr defTabSz="914377"/>
            <a:fld id="{C8015E39-59DC-48A0-9676-AD2CAF5CD29F}" type="slidenum">
              <a:rPr lang="nb-NO" smtClean="0">
                <a:solidFill>
                  <a:srgbClr val="44546A"/>
                </a:solidFill>
              </a:rPr>
              <a:pPr defTabSz="914377"/>
              <a:t>‹#›</a:t>
            </a:fld>
            <a:endParaRPr lang="nb-NO">
              <a:solidFill>
                <a:srgbClr val="44546A"/>
              </a:solidFill>
            </a:endParaRPr>
          </a:p>
        </p:txBody>
      </p:sp>
      <p:grpSp>
        <p:nvGrpSpPr>
          <p:cNvPr id="74" name="bamse" hidden="1"/>
          <p:cNvGrpSpPr/>
          <p:nvPr/>
        </p:nvGrpSpPr>
        <p:grpSpPr>
          <a:xfrm>
            <a:off x="5313600" y="2646600"/>
            <a:ext cx="1564800" cy="1564800"/>
            <a:chOff x="300343" y="1212537"/>
            <a:chExt cx="1173600" cy="1173600"/>
          </a:xfrm>
        </p:grpSpPr>
        <p:sp>
          <p:nvSpPr>
            <p:cNvPr id="75" name="bamse_hvit_sirkel"/>
            <p:cNvSpPr/>
            <p:nvPr userDrawn="1"/>
          </p:nvSpPr>
          <p:spPr>
            <a:xfrm>
              <a:off x="300343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76" name="bamse"/>
            <p:cNvPicPr>
              <a:picLocks noChangeAspect="1"/>
            </p:cNvPicPr>
            <p:nvPr userDrawn="1"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77" name="hake" hidden="1"/>
          <p:cNvGrpSpPr/>
          <p:nvPr/>
        </p:nvGrpSpPr>
        <p:grpSpPr>
          <a:xfrm>
            <a:off x="5313600" y="2646600"/>
            <a:ext cx="1564800" cy="1564800"/>
            <a:chOff x="1774286" y="1212537"/>
            <a:chExt cx="1173600" cy="1173600"/>
          </a:xfrm>
        </p:grpSpPr>
        <p:sp>
          <p:nvSpPr>
            <p:cNvPr id="78" name="hake_hvit_sirkel"/>
            <p:cNvSpPr/>
            <p:nvPr userDrawn="1"/>
          </p:nvSpPr>
          <p:spPr>
            <a:xfrm>
              <a:off x="1774286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79" name="hake"/>
            <p:cNvPicPr>
              <a:picLocks noChangeAspect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0" name="kr" hidden="1"/>
          <p:cNvGrpSpPr/>
          <p:nvPr/>
        </p:nvGrpSpPr>
        <p:grpSpPr>
          <a:xfrm>
            <a:off x="5313600" y="2646600"/>
            <a:ext cx="1564800" cy="1564800"/>
            <a:chOff x="3248229" y="1212537"/>
            <a:chExt cx="1173600" cy="1173600"/>
          </a:xfrm>
        </p:grpSpPr>
        <p:sp>
          <p:nvSpPr>
            <p:cNvPr id="81" name="kr_hvit_sirkel"/>
            <p:cNvSpPr/>
            <p:nvPr userDrawn="1"/>
          </p:nvSpPr>
          <p:spPr>
            <a:xfrm>
              <a:off x="3248229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82" name="kr"/>
            <p:cNvPicPr>
              <a:picLocks noChangeAspect="1"/>
            </p:cNvPicPr>
            <p:nvPr userDrawn="1"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3" name="bil" hidden="1"/>
          <p:cNvGrpSpPr/>
          <p:nvPr/>
        </p:nvGrpSpPr>
        <p:grpSpPr>
          <a:xfrm>
            <a:off x="5313600" y="2646600"/>
            <a:ext cx="1564800" cy="1564800"/>
            <a:chOff x="4722172" y="1212537"/>
            <a:chExt cx="1173600" cy="1173600"/>
          </a:xfrm>
        </p:grpSpPr>
        <p:sp>
          <p:nvSpPr>
            <p:cNvPr id="84" name="bil_hvit_sirkel"/>
            <p:cNvSpPr/>
            <p:nvPr userDrawn="1"/>
          </p:nvSpPr>
          <p:spPr>
            <a:xfrm>
              <a:off x="4722172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85" name="bil"/>
            <p:cNvPicPr>
              <a:picLocks noChangeAspect="1"/>
            </p:cNvPicPr>
            <p:nvPr userDrawn="1"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6" name="pluss" hidden="1"/>
          <p:cNvGrpSpPr/>
          <p:nvPr/>
        </p:nvGrpSpPr>
        <p:grpSpPr>
          <a:xfrm>
            <a:off x="5313600" y="2646600"/>
            <a:ext cx="1564800" cy="1564800"/>
            <a:chOff x="6196115" y="1212537"/>
            <a:chExt cx="1173600" cy="1173600"/>
          </a:xfrm>
        </p:grpSpPr>
        <p:sp>
          <p:nvSpPr>
            <p:cNvPr id="87" name="pluss_hvit_sirkel"/>
            <p:cNvSpPr/>
            <p:nvPr userDrawn="1"/>
          </p:nvSpPr>
          <p:spPr>
            <a:xfrm>
              <a:off x="6196115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88" name="pluss"/>
            <p:cNvPicPr>
              <a:picLocks noChangeAspect="1"/>
            </p:cNvPicPr>
            <p:nvPr userDrawn="1"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9" name="snakkeboble" hidden="1"/>
          <p:cNvGrpSpPr/>
          <p:nvPr/>
        </p:nvGrpSpPr>
        <p:grpSpPr>
          <a:xfrm>
            <a:off x="5313600" y="2646600"/>
            <a:ext cx="1564800" cy="1564800"/>
            <a:chOff x="7670058" y="1212537"/>
            <a:chExt cx="1173600" cy="1173600"/>
          </a:xfrm>
        </p:grpSpPr>
        <p:sp>
          <p:nvSpPr>
            <p:cNvPr id="90" name="snakkeboble_hvit_sirkel"/>
            <p:cNvSpPr/>
            <p:nvPr userDrawn="1"/>
          </p:nvSpPr>
          <p:spPr>
            <a:xfrm>
              <a:off x="7670058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91" name="snakkeboble"/>
            <p:cNvPicPr>
              <a:picLocks noChangeAspect="1"/>
            </p:cNvPicPr>
            <p:nvPr userDrawn="1"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2" name="paraply" hidden="1"/>
          <p:cNvGrpSpPr/>
          <p:nvPr/>
        </p:nvGrpSpPr>
        <p:grpSpPr>
          <a:xfrm>
            <a:off x="5313600" y="2646600"/>
            <a:ext cx="1564800" cy="1564800"/>
            <a:chOff x="1774286" y="1331807"/>
            <a:chExt cx="1173600" cy="1173600"/>
          </a:xfrm>
        </p:grpSpPr>
        <p:sp>
          <p:nvSpPr>
            <p:cNvPr id="93" name="paraply_hvit_sirkel"/>
            <p:cNvSpPr/>
            <p:nvPr userDrawn="1"/>
          </p:nvSpPr>
          <p:spPr>
            <a:xfrm>
              <a:off x="1774286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94" name="paraply"/>
            <p:cNvPicPr>
              <a:picLocks noChangeAspect="1"/>
            </p:cNvPicPr>
            <p:nvPr userDrawn="1"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5" name="pakke" hidden="1"/>
          <p:cNvGrpSpPr/>
          <p:nvPr/>
        </p:nvGrpSpPr>
        <p:grpSpPr>
          <a:xfrm>
            <a:off x="5313600" y="2646600"/>
            <a:ext cx="1564800" cy="1564800"/>
            <a:chOff x="3248229" y="1331807"/>
            <a:chExt cx="1173600" cy="1173600"/>
          </a:xfrm>
        </p:grpSpPr>
        <p:sp>
          <p:nvSpPr>
            <p:cNvPr id="96" name="pakke_hvit_sirkel"/>
            <p:cNvSpPr/>
            <p:nvPr userDrawn="1"/>
          </p:nvSpPr>
          <p:spPr>
            <a:xfrm>
              <a:off x="3248229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97" name="pakke"/>
            <p:cNvPicPr>
              <a:picLocks noChangeAspect="1"/>
            </p:cNvPicPr>
            <p:nvPr userDrawn="1"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8" name="hus" hidden="1"/>
          <p:cNvGrpSpPr/>
          <p:nvPr/>
        </p:nvGrpSpPr>
        <p:grpSpPr>
          <a:xfrm>
            <a:off x="5313600" y="2646600"/>
            <a:ext cx="1564800" cy="1564800"/>
            <a:chOff x="4722172" y="1331807"/>
            <a:chExt cx="1173600" cy="1173600"/>
          </a:xfrm>
        </p:grpSpPr>
        <p:sp>
          <p:nvSpPr>
            <p:cNvPr id="99" name="hus_hvit_sirkel"/>
            <p:cNvSpPr/>
            <p:nvPr userDrawn="1"/>
          </p:nvSpPr>
          <p:spPr>
            <a:xfrm>
              <a:off x="4722172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00" name="hus"/>
            <p:cNvPicPr>
              <a:picLocks noChangeAspect="1"/>
            </p:cNvPicPr>
            <p:nvPr userDrawn="1"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1" name="id" hidden="1"/>
          <p:cNvGrpSpPr/>
          <p:nvPr/>
        </p:nvGrpSpPr>
        <p:grpSpPr>
          <a:xfrm>
            <a:off x="5313600" y="2646600"/>
            <a:ext cx="1564800" cy="1564800"/>
            <a:chOff x="6196115" y="1331807"/>
            <a:chExt cx="1173600" cy="1173600"/>
          </a:xfrm>
        </p:grpSpPr>
        <p:sp>
          <p:nvSpPr>
            <p:cNvPr id="102" name="id_hvit_sirkel"/>
            <p:cNvSpPr/>
            <p:nvPr userDrawn="1"/>
          </p:nvSpPr>
          <p:spPr>
            <a:xfrm>
              <a:off x="6196115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03" name="id"/>
            <p:cNvPicPr>
              <a:picLocks noChangeAspect="1"/>
            </p:cNvPicPr>
            <p:nvPr userDrawn="1"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4" name="kalkulator" hidden="1"/>
          <p:cNvGrpSpPr/>
          <p:nvPr/>
        </p:nvGrpSpPr>
        <p:grpSpPr>
          <a:xfrm>
            <a:off x="5313600" y="2646600"/>
            <a:ext cx="1564800" cy="1564800"/>
            <a:chOff x="7670058" y="1331807"/>
            <a:chExt cx="1173600" cy="1173600"/>
          </a:xfrm>
        </p:grpSpPr>
        <p:sp>
          <p:nvSpPr>
            <p:cNvPr id="105" name="kalkulator_hvit_sirkel"/>
            <p:cNvSpPr/>
            <p:nvPr userDrawn="1"/>
          </p:nvSpPr>
          <p:spPr>
            <a:xfrm>
              <a:off x="7670058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06" name="kalkulator"/>
            <p:cNvPicPr>
              <a:picLocks noChangeAspect="1"/>
            </p:cNvPicPr>
            <p:nvPr userDrawn="1"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7" name="handlevogn" hidden="1"/>
          <p:cNvGrpSpPr/>
          <p:nvPr/>
        </p:nvGrpSpPr>
        <p:grpSpPr>
          <a:xfrm>
            <a:off x="5313600" y="2646600"/>
            <a:ext cx="1564800" cy="1564800"/>
            <a:chOff x="300343" y="1138704"/>
            <a:chExt cx="1173600" cy="1173600"/>
          </a:xfrm>
        </p:grpSpPr>
        <p:sp>
          <p:nvSpPr>
            <p:cNvPr id="108" name="handlevogn_hvit_sirkel"/>
            <p:cNvSpPr/>
            <p:nvPr userDrawn="1"/>
          </p:nvSpPr>
          <p:spPr>
            <a:xfrm>
              <a:off x="300343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09" name="handlevogn"/>
            <p:cNvPicPr>
              <a:picLocks noChangeAspect="1"/>
            </p:cNvPicPr>
            <p:nvPr userDrawn="1"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0" name="hundre" hidden="1"/>
          <p:cNvGrpSpPr/>
          <p:nvPr/>
        </p:nvGrpSpPr>
        <p:grpSpPr>
          <a:xfrm>
            <a:off x="5313600" y="2646600"/>
            <a:ext cx="1564800" cy="1564800"/>
            <a:chOff x="1774286" y="1138704"/>
            <a:chExt cx="1173600" cy="1173600"/>
          </a:xfrm>
        </p:grpSpPr>
        <p:sp>
          <p:nvSpPr>
            <p:cNvPr id="111" name="hundre_hvit_sirkel"/>
            <p:cNvSpPr/>
            <p:nvPr userDrawn="1"/>
          </p:nvSpPr>
          <p:spPr>
            <a:xfrm>
              <a:off x="1774286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12" name="hundre"/>
            <p:cNvPicPr>
              <a:picLocks noChangeAspect="1"/>
            </p:cNvPicPr>
            <p:nvPr userDrawn="1"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3" name="kort" hidden="1"/>
          <p:cNvGrpSpPr/>
          <p:nvPr/>
        </p:nvGrpSpPr>
        <p:grpSpPr>
          <a:xfrm>
            <a:off x="5313600" y="2646600"/>
            <a:ext cx="1564800" cy="1564800"/>
            <a:chOff x="3248229" y="2838310"/>
            <a:chExt cx="1173600" cy="1173600"/>
          </a:xfrm>
        </p:grpSpPr>
        <p:sp>
          <p:nvSpPr>
            <p:cNvPr id="114" name="kort_hvit_sirkel"/>
            <p:cNvSpPr/>
            <p:nvPr userDrawn="1"/>
          </p:nvSpPr>
          <p:spPr>
            <a:xfrm>
              <a:off x="3248229" y="2838310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15" name="kort"/>
            <p:cNvPicPr>
              <a:picLocks noChangeAspect="1"/>
            </p:cNvPicPr>
            <p:nvPr userDrawn="1"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2838310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6" name="headset" hidden="1"/>
          <p:cNvGrpSpPr/>
          <p:nvPr/>
        </p:nvGrpSpPr>
        <p:grpSpPr>
          <a:xfrm>
            <a:off x="5313600" y="2646600"/>
            <a:ext cx="1564800" cy="1564800"/>
            <a:chOff x="4722172" y="1138704"/>
            <a:chExt cx="1173600" cy="1173600"/>
          </a:xfrm>
        </p:grpSpPr>
        <p:sp>
          <p:nvSpPr>
            <p:cNvPr id="117" name="headset_hvit_sirkel"/>
            <p:cNvSpPr/>
            <p:nvPr userDrawn="1"/>
          </p:nvSpPr>
          <p:spPr>
            <a:xfrm>
              <a:off x="4722172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18" name="headset"/>
            <p:cNvPicPr>
              <a:picLocks noChangeAspect="1"/>
            </p:cNvPicPr>
            <p:nvPr userDrawn="1"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9" name="hjerte" hidden="1"/>
          <p:cNvGrpSpPr/>
          <p:nvPr/>
        </p:nvGrpSpPr>
        <p:grpSpPr>
          <a:xfrm>
            <a:off x="5313600" y="2646600"/>
            <a:ext cx="1564800" cy="1564800"/>
            <a:chOff x="6196115" y="1138704"/>
            <a:chExt cx="1173600" cy="1173600"/>
          </a:xfrm>
        </p:grpSpPr>
        <p:sp>
          <p:nvSpPr>
            <p:cNvPr id="120" name="hjerte_hvit_sirkel"/>
            <p:cNvSpPr/>
            <p:nvPr userDrawn="1"/>
          </p:nvSpPr>
          <p:spPr>
            <a:xfrm>
              <a:off x="6196115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21" name="hjerte"/>
            <p:cNvPicPr>
              <a:picLocks noChangeAspect="1"/>
            </p:cNvPicPr>
            <p:nvPr userDrawn="1"/>
          </p:nvPicPr>
          <p:blipFill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2" name="nokkel" hidden="1"/>
          <p:cNvGrpSpPr/>
          <p:nvPr/>
        </p:nvGrpSpPr>
        <p:grpSpPr>
          <a:xfrm>
            <a:off x="5313600" y="2646600"/>
            <a:ext cx="1564800" cy="1564800"/>
            <a:chOff x="7670058" y="1138704"/>
            <a:chExt cx="1173600" cy="1173600"/>
          </a:xfrm>
        </p:grpSpPr>
        <p:sp>
          <p:nvSpPr>
            <p:cNvPr id="123" name="nokkel_hvit_sirkel"/>
            <p:cNvSpPr/>
            <p:nvPr userDrawn="1"/>
          </p:nvSpPr>
          <p:spPr>
            <a:xfrm>
              <a:off x="7670058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24" name="nokkel"/>
            <p:cNvPicPr>
              <a:picLocks noChangeAspect="1"/>
            </p:cNvPicPr>
            <p:nvPr userDrawn="1"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5" name="mobil" hidden="1"/>
          <p:cNvGrpSpPr/>
          <p:nvPr/>
        </p:nvGrpSpPr>
        <p:grpSpPr>
          <a:xfrm>
            <a:off x="5313600" y="2646600"/>
            <a:ext cx="1564800" cy="1564800"/>
            <a:chOff x="300343" y="1223896"/>
            <a:chExt cx="1173600" cy="1173600"/>
          </a:xfrm>
        </p:grpSpPr>
        <p:sp>
          <p:nvSpPr>
            <p:cNvPr id="126" name="mobil_hvit_sirkel"/>
            <p:cNvSpPr/>
            <p:nvPr userDrawn="1"/>
          </p:nvSpPr>
          <p:spPr>
            <a:xfrm>
              <a:off x="300343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27" name="mobil"/>
            <p:cNvPicPr>
              <a:picLocks noChangeAspect="1"/>
            </p:cNvPicPr>
            <p:nvPr userDrawn="1"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8" name="nokkelhull" hidden="1"/>
          <p:cNvGrpSpPr/>
          <p:nvPr/>
        </p:nvGrpSpPr>
        <p:grpSpPr>
          <a:xfrm>
            <a:off x="5313600" y="2646600"/>
            <a:ext cx="1564800" cy="1564800"/>
            <a:chOff x="1774286" y="1223896"/>
            <a:chExt cx="1173600" cy="1173600"/>
          </a:xfrm>
        </p:grpSpPr>
        <p:sp>
          <p:nvSpPr>
            <p:cNvPr id="129" name="nokkelhull_hvit_sirkel"/>
            <p:cNvSpPr/>
            <p:nvPr userDrawn="1"/>
          </p:nvSpPr>
          <p:spPr>
            <a:xfrm>
              <a:off x="1774286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30" name="nokkelhull"/>
            <p:cNvPicPr>
              <a:picLocks noChangeAspect="1"/>
            </p:cNvPicPr>
            <p:nvPr userDrawn="1"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1" name="tog" hidden="1"/>
          <p:cNvGrpSpPr/>
          <p:nvPr/>
        </p:nvGrpSpPr>
        <p:grpSpPr>
          <a:xfrm>
            <a:off x="5313600" y="2646600"/>
            <a:ext cx="1564800" cy="1564800"/>
            <a:chOff x="3248229" y="1223896"/>
            <a:chExt cx="1173600" cy="1173600"/>
          </a:xfrm>
        </p:grpSpPr>
        <p:sp>
          <p:nvSpPr>
            <p:cNvPr id="132" name="tog_hvit_sirkel"/>
            <p:cNvSpPr/>
            <p:nvPr userDrawn="1"/>
          </p:nvSpPr>
          <p:spPr>
            <a:xfrm>
              <a:off x="3248229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33" name="tog"/>
            <p:cNvPicPr>
              <a:picLocks noChangeAspect="1"/>
            </p:cNvPicPr>
            <p:nvPr userDrawn="1"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4" name="pengesekk" hidden="1"/>
          <p:cNvGrpSpPr/>
          <p:nvPr/>
        </p:nvGrpSpPr>
        <p:grpSpPr>
          <a:xfrm>
            <a:off x="5313600" y="2646600"/>
            <a:ext cx="1564800" cy="1564800"/>
            <a:chOff x="4722172" y="339502"/>
            <a:chExt cx="1173600" cy="1173600"/>
          </a:xfrm>
        </p:grpSpPr>
        <p:sp>
          <p:nvSpPr>
            <p:cNvPr id="135" name="pengesekk_hvit_sirkel"/>
            <p:cNvSpPr/>
            <p:nvPr userDrawn="1"/>
          </p:nvSpPr>
          <p:spPr>
            <a:xfrm>
              <a:off x="4722172" y="3395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36" name="pengesekk"/>
            <p:cNvPicPr>
              <a:picLocks noChangeAspect="1"/>
            </p:cNvPicPr>
            <p:nvPr userDrawn="1"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3395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7" name="kundeservice" hidden="1"/>
          <p:cNvGrpSpPr/>
          <p:nvPr/>
        </p:nvGrpSpPr>
        <p:grpSpPr>
          <a:xfrm>
            <a:off x="5313600" y="2646600"/>
            <a:ext cx="1564800" cy="1564800"/>
            <a:chOff x="6196115" y="1223896"/>
            <a:chExt cx="1173600" cy="1173600"/>
          </a:xfrm>
        </p:grpSpPr>
        <p:sp>
          <p:nvSpPr>
            <p:cNvPr id="138" name="kundeservice_hvit_sirkel"/>
            <p:cNvSpPr/>
            <p:nvPr userDrawn="1"/>
          </p:nvSpPr>
          <p:spPr>
            <a:xfrm>
              <a:off x="6196115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39" name="kundeservice"/>
            <p:cNvPicPr>
              <a:picLocks noChangeAspect="1"/>
            </p:cNvPicPr>
            <p:nvPr userDrawn="1"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0" name="fly" hidden="1"/>
          <p:cNvGrpSpPr/>
          <p:nvPr/>
        </p:nvGrpSpPr>
        <p:grpSpPr>
          <a:xfrm>
            <a:off x="5313600" y="2646600"/>
            <a:ext cx="1564800" cy="1564800"/>
            <a:chOff x="7670058" y="1223896"/>
            <a:chExt cx="1173600" cy="1173600"/>
          </a:xfrm>
        </p:grpSpPr>
        <p:sp>
          <p:nvSpPr>
            <p:cNvPr id="141" name="fly_hvit_sirkel"/>
            <p:cNvSpPr/>
            <p:nvPr userDrawn="1"/>
          </p:nvSpPr>
          <p:spPr>
            <a:xfrm>
              <a:off x="7670058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42" name="fly"/>
            <p:cNvPicPr>
              <a:picLocks noChangeAspect="1"/>
            </p:cNvPicPr>
            <p:nvPr userDrawn="1"/>
          </p:nvPicPr>
          <p:blipFill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3" name="flamme" hidden="1"/>
          <p:cNvGrpSpPr/>
          <p:nvPr/>
        </p:nvGrpSpPr>
        <p:grpSpPr>
          <a:xfrm>
            <a:off x="5313600" y="2646600"/>
            <a:ext cx="1564800" cy="1564800"/>
            <a:chOff x="300343" y="1167102"/>
            <a:chExt cx="1173600" cy="1173600"/>
          </a:xfrm>
        </p:grpSpPr>
        <p:sp>
          <p:nvSpPr>
            <p:cNvPr id="144" name="flamme_hvit_sirkel"/>
            <p:cNvSpPr/>
            <p:nvPr userDrawn="1"/>
          </p:nvSpPr>
          <p:spPr>
            <a:xfrm>
              <a:off x="300343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45" name="flamme"/>
            <p:cNvPicPr>
              <a:picLocks noChangeAspect="1"/>
            </p:cNvPicPr>
            <p:nvPr userDrawn="1"/>
          </p:nvPicPr>
          <p:blipFill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6" name="barn" hidden="1"/>
          <p:cNvGrpSpPr/>
          <p:nvPr/>
        </p:nvGrpSpPr>
        <p:grpSpPr>
          <a:xfrm>
            <a:off x="5313600" y="2646600"/>
            <a:ext cx="1564800" cy="1564800"/>
            <a:chOff x="1774286" y="1167102"/>
            <a:chExt cx="1173600" cy="1173600"/>
          </a:xfrm>
        </p:grpSpPr>
        <p:sp>
          <p:nvSpPr>
            <p:cNvPr id="147" name="barn_hvit_sirkel"/>
            <p:cNvSpPr/>
            <p:nvPr userDrawn="1"/>
          </p:nvSpPr>
          <p:spPr>
            <a:xfrm>
              <a:off x="1774286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48" name="barn"/>
            <p:cNvPicPr>
              <a:picLocks noChangeAspect="1"/>
            </p:cNvPicPr>
            <p:nvPr userDrawn="1"/>
          </p:nvPicPr>
          <p:blipFill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9" name="sok" hidden="1"/>
          <p:cNvGrpSpPr/>
          <p:nvPr/>
        </p:nvGrpSpPr>
        <p:grpSpPr>
          <a:xfrm>
            <a:off x="5313600" y="2646600"/>
            <a:ext cx="1564800" cy="1564800"/>
            <a:chOff x="3248229" y="1167102"/>
            <a:chExt cx="1173600" cy="1173600"/>
          </a:xfrm>
        </p:grpSpPr>
        <p:sp>
          <p:nvSpPr>
            <p:cNvPr id="150" name="sok_hvit_sirkel"/>
            <p:cNvSpPr/>
            <p:nvPr userDrawn="1"/>
          </p:nvSpPr>
          <p:spPr>
            <a:xfrm>
              <a:off x="3248229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51" name="sok"/>
            <p:cNvPicPr>
              <a:picLocks noChangeAspect="1"/>
            </p:cNvPicPr>
            <p:nvPr userDrawn="1"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2" name="sparegris" hidden="1"/>
          <p:cNvGrpSpPr/>
          <p:nvPr/>
        </p:nvGrpSpPr>
        <p:grpSpPr>
          <a:xfrm>
            <a:off x="5313600" y="2646600"/>
            <a:ext cx="1564800" cy="1564800"/>
            <a:chOff x="5045959" y="3003798"/>
            <a:chExt cx="1173600" cy="1173600"/>
          </a:xfrm>
        </p:grpSpPr>
        <p:sp>
          <p:nvSpPr>
            <p:cNvPr id="153" name="sparegris_hvit_sirkel"/>
            <p:cNvSpPr/>
            <p:nvPr userDrawn="1"/>
          </p:nvSpPr>
          <p:spPr>
            <a:xfrm>
              <a:off x="5045959" y="300379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54" name="sparegris"/>
            <p:cNvPicPr>
              <a:picLocks noChangeAspect="1"/>
            </p:cNvPicPr>
            <p:nvPr userDrawn="1"/>
          </p:nvPicPr>
          <p:blipFill>
            <a:blip r:embed="rId6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5959" y="300379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5" name="sporsmalstegn" hidden="1"/>
          <p:cNvGrpSpPr/>
          <p:nvPr/>
        </p:nvGrpSpPr>
        <p:grpSpPr>
          <a:xfrm>
            <a:off x="5313600" y="2646600"/>
            <a:ext cx="1564800" cy="1564800"/>
            <a:chOff x="6196115" y="1167102"/>
            <a:chExt cx="1173600" cy="1173600"/>
          </a:xfrm>
        </p:grpSpPr>
        <p:sp>
          <p:nvSpPr>
            <p:cNvPr id="156" name="sporsmalstegn_hvit_sirkel"/>
            <p:cNvSpPr/>
            <p:nvPr userDrawn="1"/>
          </p:nvSpPr>
          <p:spPr>
            <a:xfrm>
              <a:off x="6196115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57" name="sporsmalstegn"/>
            <p:cNvPicPr>
              <a:picLocks noChangeAspect="1"/>
            </p:cNvPicPr>
            <p:nvPr userDrawn="1"/>
          </p:nvPicPr>
          <p:blipFill>
            <a:blip r:embed="rId6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8" name="location" hidden="1"/>
          <p:cNvGrpSpPr/>
          <p:nvPr/>
        </p:nvGrpSpPr>
        <p:grpSpPr>
          <a:xfrm>
            <a:off x="5313600" y="2646600"/>
            <a:ext cx="1564800" cy="1564800"/>
            <a:chOff x="7670058" y="1167102"/>
            <a:chExt cx="1173600" cy="1173600"/>
          </a:xfrm>
        </p:grpSpPr>
        <p:sp>
          <p:nvSpPr>
            <p:cNvPr id="159" name="location_hvit_sirkel"/>
            <p:cNvSpPr/>
            <p:nvPr userDrawn="1"/>
          </p:nvSpPr>
          <p:spPr>
            <a:xfrm>
              <a:off x="7670058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60" name="location"/>
            <p:cNvPicPr>
              <a:picLocks noChangeAspect="1"/>
            </p:cNvPicPr>
            <p:nvPr userDrawn="1"/>
          </p:nvPicPr>
          <p:blipFill>
            <a:blip r:embed="rId6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1" name="telefon" hidden="1"/>
          <p:cNvGrpSpPr/>
          <p:nvPr/>
        </p:nvGrpSpPr>
        <p:grpSpPr>
          <a:xfrm>
            <a:off x="5313600" y="2646600"/>
            <a:ext cx="1564800" cy="1564800"/>
            <a:chOff x="889920" y="1282748"/>
            <a:chExt cx="1173600" cy="1173600"/>
          </a:xfrm>
        </p:grpSpPr>
        <p:sp>
          <p:nvSpPr>
            <p:cNvPr id="162" name="telefon_hvit_sirkel"/>
            <p:cNvSpPr/>
            <p:nvPr userDrawn="1"/>
          </p:nvSpPr>
          <p:spPr>
            <a:xfrm>
              <a:off x="88992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63" name="telefon"/>
            <p:cNvPicPr>
              <a:picLocks noChangeAspect="1"/>
            </p:cNvPicPr>
            <p:nvPr userDrawn="1"/>
          </p:nvPicPr>
          <p:blipFill>
            <a:blip r:embed="rId7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92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4" name="ungdom" hidden="1"/>
          <p:cNvGrpSpPr/>
          <p:nvPr/>
        </p:nvGrpSpPr>
        <p:grpSpPr>
          <a:xfrm>
            <a:off x="5313600" y="2646600"/>
            <a:ext cx="1564800" cy="1564800"/>
            <a:chOff x="2953440" y="1282748"/>
            <a:chExt cx="1173600" cy="1173600"/>
          </a:xfrm>
        </p:grpSpPr>
        <p:sp>
          <p:nvSpPr>
            <p:cNvPr id="165" name="ungdom_hvit_sirkel"/>
            <p:cNvSpPr/>
            <p:nvPr userDrawn="1"/>
          </p:nvSpPr>
          <p:spPr>
            <a:xfrm>
              <a:off x="295344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66" name="ungdom"/>
            <p:cNvPicPr>
              <a:picLocks noChangeAspect="1"/>
            </p:cNvPicPr>
            <p:nvPr userDrawn="1"/>
          </p:nvPicPr>
          <p:blipFill>
            <a:blip r:embed="rId7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44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7" name="boligsok" hidden="1"/>
          <p:cNvGrpSpPr/>
          <p:nvPr/>
        </p:nvGrpSpPr>
        <p:grpSpPr>
          <a:xfrm>
            <a:off x="5313600" y="2646600"/>
            <a:ext cx="1564800" cy="1564800"/>
            <a:chOff x="5016960" y="1282748"/>
            <a:chExt cx="1173600" cy="1173600"/>
          </a:xfrm>
        </p:grpSpPr>
        <p:sp>
          <p:nvSpPr>
            <p:cNvPr id="168" name="boligsok_hvit_sirkel"/>
            <p:cNvSpPr/>
            <p:nvPr userDrawn="1"/>
          </p:nvSpPr>
          <p:spPr>
            <a:xfrm>
              <a:off x="501696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69" name="boligsok"/>
            <p:cNvPicPr>
              <a:picLocks noChangeAspect="1"/>
            </p:cNvPicPr>
            <p:nvPr userDrawn="1"/>
          </p:nvPicPr>
          <p:blipFill>
            <a:blip r:embed="rId7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696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70" name="visning" hidden="1"/>
          <p:cNvGrpSpPr/>
          <p:nvPr/>
        </p:nvGrpSpPr>
        <p:grpSpPr>
          <a:xfrm>
            <a:off x="5313600" y="2646600"/>
            <a:ext cx="1564800" cy="1564800"/>
            <a:chOff x="7080480" y="1282748"/>
            <a:chExt cx="1173600" cy="1173600"/>
          </a:xfrm>
        </p:grpSpPr>
        <p:sp>
          <p:nvSpPr>
            <p:cNvPr id="171" name="visning_hvit_sirkel"/>
            <p:cNvSpPr/>
            <p:nvPr userDrawn="1"/>
          </p:nvSpPr>
          <p:spPr>
            <a:xfrm>
              <a:off x="708048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nb-NO" sz="1400">
                <a:solidFill>
                  <a:srgbClr val="7FC6E8"/>
                </a:solidFill>
              </a:endParaRPr>
            </a:p>
          </p:txBody>
        </p:sp>
        <p:pic>
          <p:nvPicPr>
            <p:cNvPr id="172" name="visning"/>
            <p:cNvPicPr>
              <a:picLocks noChangeAspect="1"/>
            </p:cNvPicPr>
            <p:nvPr userDrawn="1"/>
          </p:nvPicPr>
          <p:blipFill>
            <a:blip r:embed="rId7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0480" y="1282748"/>
              <a:ext cx="1173600" cy="1173600"/>
            </a:xfrm>
            <a:prstGeom prst="rect">
              <a:avLst/>
            </a:prstGeom>
          </p:spPr>
        </p:pic>
      </p:grpSp>
      <p:sp>
        <p:nvSpPr>
          <p:cNvPr id="173" name="hvit_sirkel" hidden="1"/>
          <p:cNvSpPr/>
          <p:nvPr/>
        </p:nvSpPr>
        <p:spPr>
          <a:xfrm>
            <a:off x="5327916" y="2660917"/>
            <a:ext cx="1536171" cy="15361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914377"/>
            <a:endParaRPr lang="nb-NO" sz="1400">
              <a:solidFill>
                <a:srgbClr val="7FC6E8"/>
              </a:solidFill>
            </a:endParaRPr>
          </a:p>
        </p:txBody>
      </p:sp>
      <p:pic>
        <p:nvPicPr>
          <p:cNvPr id="7" name="Picture 6" descr="rgb_SB1_BV_verti_pos.png"/>
          <p:cNvPicPr>
            <a:picLocks noChangeAspect="1"/>
          </p:cNvPicPr>
          <p:nvPr userDrawn="1"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363" y="6165304"/>
            <a:ext cx="2549359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7807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  <p:sldLayoutId id="2147483719" r:id="rId30"/>
    <p:sldLayoutId id="2147483720" r:id="rId31"/>
    <p:sldLayoutId id="2147483721" r:id="rId32"/>
    <p:sldLayoutId id="2147483722" r:id="rId33"/>
    <p:sldLayoutId id="2147483723" r:id="rId34"/>
    <p:sldLayoutId id="2147483725" r:id="rId35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342734" rtl="0" eaLnBrk="1" latinLnBrk="0" hangingPunct="1">
        <a:lnSpc>
          <a:spcPct val="80000"/>
        </a:lnSpc>
        <a:spcBef>
          <a:spcPct val="0"/>
        </a:spcBef>
        <a:buNone/>
        <a:defRPr sz="2800" b="1" i="0" kern="1200">
          <a:solidFill>
            <a:srgbClr val="1F82BA"/>
          </a:solidFill>
          <a:latin typeface="+mj-lt"/>
          <a:ea typeface="+mj-ea"/>
          <a:cs typeface="+mj-cs"/>
        </a:defRPr>
      </a:lvl1pPr>
    </p:titleStyle>
    <p:bodyStyle>
      <a:lvl1pPr marL="177796" indent="-177796" algn="l" defTabSz="342734" rtl="0" eaLnBrk="1" latinLnBrk="0" hangingPunct="1">
        <a:lnSpc>
          <a:spcPct val="100000"/>
        </a:lnSpc>
        <a:spcBef>
          <a:spcPts val="600"/>
        </a:spcBef>
        <a:buClr>
          <a:schemeClr val="accent4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591" indent="-177796" algn="l" defTabSz="342734" rtl="0" eaLnBrk="1" latinLnBrk="0" hangingPunct="1">
        <a:lnSpc>
          <a:spcPct val="100000"/>
        </a:lnSpc>
        <a:spcBef>
          <a:spcPts val="2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00" indent="-176209" algn="l" defTabSz="342734" rtl="0" eaLnBrk="1" latinLnBrk="0" hangingPunct="1">
        <a:lnSpc>
          <a:spcPct val="80000"/>
        </a:lnSpc>
        <a:spcBef>
          <a:spcPts val="200"/>
        </a:spcBef>
        <a:buClr>
          <a:schemeClr val="accent4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3882" indent="-192083" algn="l" defTabSz="342734" rtl="0" eaLnBrk="1" latinLnBrk="0" hangingPunct="1">
        <a:lnSpc>
          <a:spcPct val="80000"/>
        </a:lnSpc>
        <a:spcBef>
          <a:spcPts val="200"/>
        </a:spcBef>
        <a:buClr>
          <a:schemeClr val="accent4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91" indent="-176209" algn="l" defTabSz="342734" rtl="0" eaLnBrk="1" latinLnBrk="0" hangingPunct="1">
        <a:lnSpc>
          <a:spcPct val="80000"/>
        </a:lnSpc>
        <a:spcBef>
          <a:spcPts val="200"/>
        </a:spcBef>
        <a:buClr>
          <a:schemeClr val="accent4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42519" indent="-85685" algn="l" defTabSz="342734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13887" indent="-85685" algn="l" defTabSz="342734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85253" indent="-85685" algn="l" defTabSz="342734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56621" indent="-85685" algn="l" defTabSz="342734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1368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734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14102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5470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56836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28204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199571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370938" algn="l" defTabSz="3427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272">
          <p15:clr>
            <a:srgbClr val="F26B43"/>
          </p15:clr>
        </p15:guide>
        <p15:guide id="3" pos="5488">
          <p15:clr>
            <a:srgbClr val="F26B43"/>
          </p15:clr>
        </p15:guide>
        <p15:guide id="4" orient="horz" pos="2409">
          <p15:clr>
            <a:srgbClr val="F26B43"/>
          </p15:clr>
        </p15:guide>
        <p15:guide id="5" orient="horz" pos="3793">
          <p15:clr>
            <a:srgbClr val="F26B43"/>
          </p15:clr>
        </p15:guide>
        <p15:guide id="6" orient="horz" pos="1026">
          <p15:clr>
            <a:srgbClr val="F26B43"/>
          </p15:clr>
        </p15:guide>
        <p15:guide id="7" orient="horz" pos="777">
          <p15:clr>
            <a:srgbClr val="F26B43"/>
          </p15:clr>
        </p15:guide>
        <p15:guide id="8" pos="2835">
          <p15:clr>
            <a:srgbClr val="F26B43"/>
          </p15:clr>
        </p15:guide>
        <p15:guide id="9" pos="2925">
          <p15:clr>
            <a:srgbClr val="F26B43"/>
          </p15:clr>
        </p15:guide>
        <p15:guide id="10" orient="horz" pos="33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f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11.png"/><Relationship Id="rId4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11.png"/><Relationship Id="rId5" Type="http://schemas.openxmlformats.org/officeDocument/2006/relationships/image" Target="../media/image123.jpeg"/><Relationship Id="rId4" Type="http://schemas.openxmlformats.org/officeDocument/2006/relationships/image" Target="../media/image1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11.png"/><Relationship Id="rId4" Type="http://schemas.openxmlformats.org/officeDocument/2006/relationships/chart" Target="../charts/char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11.png"/><Relationship Id="rId4" Type="http://schemas.openxmlformats.org/officeDocument/2006/relationships/chart" Target="../charts/char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chart" Target="../charts/chart12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1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5.png"/><Relationship Id="rId4" Type="http://schemas.openxmlformats.org/officeDocument/2006/relationships/image" Target="../media/image127.jfi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emf"/><Relationship Id="rId3" Type="http://schemas.openxmlformats.org/officeDocument/2006/relationships/tags" Target="../tags/tag21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9.xml"/><Relationship Id="rId4" Type="http://schemas.openxmlformats.org/officeDocument/2006/relationships/tags" Target="../tags/tag22.xml"/><Relationship Id="rId9" Type="http://schemas.openxmlformats.org/officeDocument/2006/relationships/chart" Target="../charts/char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emf"/><Relationship Id="rId3" Type="http://schemas.openxmlformats.org/officeDocument/2006/relationships/tags" Target="../tags/tag24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22.xml"/><Relationship Id="rId11" Type="http://schemas.openxmlformats.org/officeDocument/2006/relationships/image" Target="../media/image111.png"/><Relationship Id="rId5" Type="http://schemas.openxmlformats.org/officeDocument/2006/relationships/slideLayout" Target="../slideLayouts/slideLayout29.xml"/><Relationship Id="rId10" Type="http://schemas.openxmlformats.org/officeDocument/2006/relationships/chart" Target="../charts/chart16.xml"/><Relationship Id="rId4" Type="http://schemas.openxmlformats.org/officeDocument/2006/relationships/tags" Target="../tags/tag25.xml"/><Relationship Id="rId9" Type="http://schemas.openxmlformats.org/officeDocument/2006/relationships/image" Target="../media/image12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emf"/><Relationship Id="rId3" Type="http://schemas.openxmlformats.org/officeDocument/2006/relationships/tags" Target="../tags/tag2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23.xml"/><Relationship Id="rId11" Type="http://schemas.openxmlformats.org/officeDocument/2006/relationships/chart" Target="../charts/chart17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31.png"/><Relationship Id="rId4" Type="http://schemas.openxmlformats.org/officeDocument/2006/relationships/tags" Target="../tags/tag28.xml"/><Relationship Id="rId9" Type="http://schemas.openxmlformats.org/officeDocument/2006/relationships/image" Target="../media/image13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32.jp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4.png"/><Relationship Id="rId4" Type="http://schemas.openxmlformats.org/officeDocument/2006/relationships/image" Target="../media/image11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jpe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notesSlide" Target="../notesSlides/notesSlide35.xml"/><Relationship Id="rId4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fi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9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emf"/><Relationship Id="rId3" Type="http://schemas.openxmlformats.org/officeDocument/2006/relationships/tags" Target="../tags/tag33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38.xml"/><Relationship Id="rId5" Type="http://schemas.openxmlformats.org/officeDocument/2006/relationships/slideLayout" Target="../slideLayouts/slideLayout29.xml"/><Relationship Id="rId4" Type="http://schemas.openxmlformats.org/officeDocument/2006/relationships/tags" Target="../tags/tag34.xml"/><Relationship Id="rId9" Type="http://schemas.openxmlformats.org/officeDocument/2006/relationships/chart" Target="../charts/chart3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fif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9.xml"/><Relationship Id="rId5" Type="http://schemas.openxmlformats.org/officeDocument/2006/relationships/chart" Target="../charts/chart33.xml"/><Relationship Id="rId4" Type="http://schemas.openxmlformats.org/officeDocument/2006/relationships/image" Target="../media/image111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8377" y="1"/>
            <a:ext cx="12270377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sz="5400" b="1" dirty="0" smtClean="0">
                <a:solidFill>
                  <a:schemeClr val="accent1"/>
                </a:solidFill>
              </a:rPr>
              <a:t>Regnskapspresentasjon </a:t>
            </a:r>
            <a:br>
              <a:rPr lang="nb-NO" sz="5400" b="1" dirty="0" smtClean="0">
                <a:solidFill>
                  <a:schemeClr val="accent1"/>
                </a:solidFill>
              </a:rPr>
            </a:br>
            <a:r>
              <a:rPr lang="nb-NO" sz="5400" b="1" dirty="0" smtClean="0">
                <a:solidFill>
                  <a:schemeClr val="accent1"/>
                </a:solidFill>
              </a:rPr>
              <a:t>3. kvartal 2019</a:t>
            </a:r>
            <a:br>
              <a:rPr lang="nb-NO" sz="5400" b="1" dirty="0" smtClean="0">
                <a:solidFill>
                  <a:schemeClr val="accent1"/>
                </a:solidFill>
              </a:rPr>
            </a:br>
            <a:endParaRPr lang="nb-NO" sz="5400" b="1" dirty="0">
              <a:solidFill>
                <a:schemeClr val="accent1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294967295"/>
          </p:nvPr>
        </p:nvSpPr>
        <p:spPr>
          <a:xfrm>
            <a:off x="0" y="6442075"/>
            <a:ext cx="203200" cy="204788"/>
          </a:xfrm>
        </p:spPr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</a:t>
            </a:fld>
            <a:endParaRPr lang="nb-NO">
              <a:solidFill>
                <a:srgbClr val="032A74"/>
              </a:solidFill>
            </a:endParaRPr>
          </a:p>
        </p:txBody>
      </p:sp>
      <p:pic>
        <p:nvPicPr>
          <p:cNvPr id="15" name="Bilde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27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133" y="0"/>
            <a:ext cx="4231267" cy="6858000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0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599067" y="265653"/>
            <a:ext cx="7042941" cy="787908"/>
          </a:xfrm>
        </p:spPr>
        <p:txBody>
          <a:bodyPr/>
          <a:lstStyle/>
          <a:p>
            <a:r>
              <a:rPr lang="nb-NO" sz="4000" b="1" dirty="0">
                <a:solidFill>
                  <a:schemeClr val="accent1"/>
                </a:solidFill>
              </a:rPr>
              <a:t>Resultat pr EK-bevis (morbank</a:t>
            </a:r>
            <a:r>
              <a:rPr lang="nb-NO" sz="4000" b="1" dirty="0" smtClean="0">
                <a:solidFill>
                  <a:schemeClr val="accent1"/>
                </a:solidFill>
              </a:rPr>
              <a:t>)</a:t>
            </a:r>
            <a:br>
              <a:rPr lang="nb-NO" sz="4000" b="1" dirty="0" smtClean="0">
                <a:solidFill>
                  <a:schemeClr val="accent1"/>
                </a:solidFill>
              </a:rPr>
            </a:br>
            <a:r>
              <a:rPr lang="nb-NO" sz="2400" b="1" dirty="0" err="1" smtClean="0">
                <a:solidFill>
                  <a:schemeClr val="accent1"/>
                </a:solidFill>
              </a:rPr>
              <a:t>Hiå</a:t>
            </a:r>
            <a:r>
              <a:rPr lang="nb-NO" sz="2400" b="1" dirty="0" smtClean="0">
                <a:solidFill>
                  <a:schemeClr val="accent1"/>
                </a:solidFill>
              </a:rPr>
              <a:t>:  kr 3,46 pr egenkapitalbevis</a:t>
            </a:r>
            <a:endParaRPr lang="nb-NO" sz="2400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643921864"/>
              </p:ext>
            </p:extLst>
          </p:nvPr>
        </p:nvGraphicFramePr>
        <p:xfrm>
          <a:off x="541315" y="1487090"/>
          <a:ext cx="7158446" cy="4954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399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1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549046" y="0"/>
            <a:ext cx="7042941" cy="555217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Positiv marginutvikling</a:t>
            </a:r>
            <a:endParaRPr lang="nb-NO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4258472251"/>
              </p:ext>
            </p:extLst>
          </p:nvPr>
        </p:nvGraphicFramePr>
        <p:xfrm>
          <a:off x="156963" y="1026585"/>
          <a:ext cx="764395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Bild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5704" y="5595701"/>
            <a:ext cx="2840407" cy="815038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8104" y="5748101"/>
            <a:ext cx="2840407" cy="815038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31" r="14508"/>
          <a:stretch/>
        </p:blipFill>
        <p:spPr>
          <a:xfrm>
            <a:off x="8109814" y="0"/>
            <a:ext cx="4359349" cy="6858000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45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2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121921" y="262084"/>
            <a:ext cx="8153399" cy="1526572"/>
          </a:xfrm>
        </p:spPr>
        <p:txBody>
          <a:bodyPr/>
          <a:lstStyle/>
          <a:p>
            <a:r>
              <a:rPr lang="nb-NO" sz="3200" b="1" dirty="0" smtClean="0">
                <a:solidFill>
                  <a:schemeClr val="accent1"/>
                </a:solidFill>
              </a:rPr>
              <a:t>Økende marginer etter renteheving i mai og august </a:t>
            </a:r>
            <a:br>
              <a:rPr lang="nb-NO" sz="3200" b="1" dirty="0" smtClean="0">
                <a:solidFill>
                  <a:schemeClr val="accent1"/>
                </a:solidFill>
              </a:rPr>
            </a:br>
            <a:r>
              <a:rPr lang="nb-NO" sz="1800" b="1" dirty="0" smtClean="0">
                <a:solidFill>
                  <a:schemeClr val="accent1"/>
                </a:solidFill>
              </a:rPr>
              <a:t/>
            </a:r>
            <a:br>
              <a:rPr lang="nb-NO" sz="1800" b="1" dirty="0" smtClean="0">
                <a:solidFill>
                  <a:schemeClr val="accent1"/>
                </a:solidFill>
              </a:rPr>
            </a:br>
            <a:r>
              <a:rPr lang="nb-NO" sz="1800" b="1" dirty="0">
                <a:solidFill>
                  <a:schemeClr val="accent1"/>
                </a:solidFill>
                <a:sym typeface="Wingdings" panose="05000000000000000000" pitchFamily="2" charset="2"/>
              </a:rPr>
              <a:t></a:t>
            </a:r>
            <a:r>
              <a:rPr lang="nb-NO" sz="1800" b="1" dirty="0">
                <a:solidFill>
                  <a:schemeClr val="accent1"/>
                </a:solidFill>
              </a:rPr>
              <a:t> Ny renteheving </a:t>
            </a:r>
            <a:r>
              <a:rPr lang="nb-NO" sz="1800" b="1" dirty="0" smtClean="0">
                <a:solidFill>
                  <a:schemeClr val="accent1"/>
                </a:solidFill>
              </a:rPr>
              <a:t>fra medio november</a:t>
            </a:r>
            <a:r>
              <a:rPr lang="nb-NO" sz="3200" b="1" dirty="0" smtClean="0">
                <a:solidFill>
                  <a:schemeClr val="accent1"/>
                </a:solidFill>
              </a:rPr>
              <a:t/>
            </a:r>
            <a:br>
              <a:rPr lang="nb-NO" sz="3200" b="1" dirty="0" smtClean="0">
                <a:solidFill>
                  <a:schemeClr val="accent1"/>
                </a:solidFill>
              </a:rPr>
            </a:br>
            <a:endParaRPr lang="nb-NO" sz="2400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242"/>
          <a:stretch/>
        </p:blipFill>
        <p:spPr>
          <a:xfrm>
            <a:off x="8115962" y="0"/>
            <a:ext cx="4090215" cy="6858000"/>
          </a:xfrm>
          <a:prstGeom prst="rect">
            <a:avLst/>
          </a:prstGeom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243528242"/>
              </p:ext>
            </p:extLst>
          </p:nvPr>
        </p:nvGraphicFramePr>
        <p:xfrm>
          <a:off x="629611" y="1863444"/>
          <a:ext cx="7138017" cy="4841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" name="Bilde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40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3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455858" y="474915"/>
            <a:ext cx="7658240" cy="797782"/>
          </a:xfrm>
        </p:spPr>
        <p:txBody>
          <a:bodyPr/>
          <a:lstStyle/>
          <a:p>
            <a:r>
              <a:rPr lang="nb-NO" sz="3200" b="1" dirty="0" smtClean="0">
                <a:solidFill>
                  <a:schemeClr val="accent1"/>
                </a:solidFill>
              </a:rPr>
              <a:t>BM: Økt innskuddsmargin</a:t>
            </a:r>
            <a:br>
              <a:rPr lang="nb-NO" sz="3200" b="1" dirty="0" smtClean="0">
                <a:solidFill>
                  <a:schemeClr val="accent1"/>
                </a:solidFill>
              </a:rPr>
            </a:br>
            <a:r>
              <a:rPr lang="nb-NO" sz="3200" b="1" dirty="0" smtClean="0">
                <a:solidFill>
                  <a:schemeClr val="accent1"/>
                </a:solidFill>
              </a:rPr>
              <a:t>PM: Økt innskuddsmargin siste halvår</a:t>
            </a:r>
            <a:endParaRPr lang="nb-NO" sz="3200" dirty="0">
              <a:solidFill>
                <a:schemeClr val="accent1"/>
              </a:solidFill>
            </a:endParaRPr>
          </a:p>
        </p:txBody>
      </p:sp>
      <p:sp>
        <p:nvSpPr>
          <p:cNvPr id="7" name="Rektangel 29"/>
          <p:cNvSpPr/>
          <p:nvPr/>
        </p:nvSpPr>
        <p:spPr>
          <a:xfrm>
            <a:off x="8114098" y="2308499"/>
            <a:ext cx="3991328" cy="2595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defTabSz="342734">
              <a:spcBef>
                <a:spcPts val="800"/>
              </a:spcBef>
              <a:buClr>
                <a:srgbClr val="CBCBCB"/>
              </a:buClr>
              <a:buFont typeface="Arial" panose="020B0604020202020204" pitchFamily="34" charset="0"/>
              <a:buChar char="•"/>
            </a:pPr>
            <a:r>
              <a:rPr lang="nb-NO" sz="1867" dirty="0">
                <a:solidFill>
                  <a:schemeClr val="bg1"/>
                </a:solidFill>
              </a:rPr>
              <a:t>L</a:t>
            </a:r>
            <a:r>
              <a:rPr lang="nb-NO" sz="1867" dirty="0" smtClean="0">
                <a:solidFill>
                  <a:schemeClr val="bg1"/>
                </a:solidFill>
              </a:rPr>
              <a:t>ansering </a:t>
            </a:r>
            <a:r>
              <a:rPr lang="nb-NO" sz="1867" dirty="0">
                <a:solidFill>
                  <a:schemeClr val="bg1"/>
                </a:solidFill>
              </a:rPr>
              <a:t>av nytt innskuddsprodukt i PM 3. kvartal </a:t>
            </a:r>
            <a:r>
              <a:rPr lang="nb-NO" sz="1867" dirty="0" smtClean="0">
                <a:solidFill>
                  <a:schemeClr val="bg1"/>
                </a:solidFill>
              </a:rPr>
              <a:t>2018</a:t>
            </a:r>
          </a:p>
          <a:p>
            <a:pPr marL="342900" lvl="1" indent="-342900" defTabSz="342734">
              <a:spcBef>
                <a:spcPts val="800"/>
              </a:spcBef>
              <a:buClr>
                <a:srgbClr val="CBCBCB"/>
              </a:buClr>
              <a:buFont typeface="Arial" panose="020B0604020202020204" pitchFamily="34" charset="0"/>
              <a:buChar char="•"/>
            </a:pPr>
            <a:endParaRPr lang="nb-NO" sz="1867" dirty="0">
              <a:solidFill>
                <a:schemeClr val="bg1"/>
              </a:solidFill>
            </a:endParaRPr>
          </a:p>
          <a:p>
            <a:pPr marL="342900" lvl="1" indent="-342900" defTabSz="342734">
              <a:spcBef>
                <a:spcPts val="800"/>
              </a:spcBef>
              <a:buClr>
                <a:srgbClr val="CBCBCB"/>
              </a:buClr>
              <a:buFont typeface="Arial" panose="020B0604020202020204" pitchFamily="34" charset="0"/>
              <a:buChar char="•"/>
            </a:pPr>
            <a:r>
              <a:rPr lang="nb-NO" sz="1867" dirty="0">
                <a:solidFill>
                  <a:schemeClr val="bg1"/>
                </a:solidFill>
              </a:rPr>
              <a:t>Utvikling gjennomsnittlig 3 </a:t>
            </a:r>
            <a:r>
              <a:rPr lang="nb-NO" sz="1867" dirty="0" err="1">
                <a:solidFill>
                  <a:schemeClr val="bg1"/>
                </a:solidFill>
              </a:rPr>
              <a:t>mnd</a:t>
            </a:r>
            <a:r>
              <a:rPr lang="nb-NO" sz="1867" dirty="0">
                <a:solidFill>
                  <a:schemeClr val="bg1"/>
                </a:solidFill>
              </a:rPr>
              <a:t> NIBOR:</a:t>
            </a:r>
            <a:endParaRPr lang="nb-NO" sz="2133" b="1" dirty="0">
              <a:solidFill>
                <a:schemeClr val="bg1"/>
              </a:solidFill>
            </a:endParaRPr>
          </a:p>
          <a:p>
            <a:pPr marL="456966" lvl="2" defTabSz="342734">
              <a:spcBef>
                <a:spcPts val="800"/>
              </a:spcBef>
              <a:buClr>
                <a:srgbClr val="CBCBCB"/>
              </a:buClr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graphicFrame>
        <p:nvGraphicFramePr>
          <p:cNvPr id="8" name="Tabell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5547293"/>
              </p:ext>
            </p:extLst>
          </p:nvPr>
        </p:nvGraphicFramePr>
        <p:xfrm>
          <a:off x="8114098" y="4040674"/>
          <a:ext cx="4077903" cy="86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623"/>
                <a:gridCol w="595456"/>
                <a:gridCol w="595456"/>
                <a:gridCol w="595456"/>
                <a:gridCol w="595456"/>
                <a:gridCol w="595456"/>
              </a:tblGrid>
              <a:tr h="406400">
                <a:tc>
                  <a:txBody>
                    <a:bodyPr/>
                    <a:lstStyle/>
                    <a:p>
                      <a:endParaRPr lang="nb-NO" sz="13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3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4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1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9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2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9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3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9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</a:tr>
              <a:tr h="447040">
                <a:tc>
                  <a:txBody>
                    <a:bodyPr/>
                    <a:lstStyle/>
                    <a:p>
                      <a:r>
                        <a:rPr lang="nb-NO" sz="1100" dirty="0" smtClean="0">
                          <a:solidFill>
                            <a:schemeClr val="tx1"/>
                          </a:solidFill>
                        </a:rPr>
                        <a:t>3 </a:t>
                      </a:r>
                      <a:r>
                        <a:rPr lang="nb-NO" sz="1100" dirty="0" err="1" smtClean="0">
                          <a:solidFill>
                            <a:schemeClr val="tx1"/>
                          </a:solidFill>
                        </a:rPr>
                        <a:t>mnd</a:t>
                      </a:r>
                      <a:r>
                        <a:rPr lang="nb-NO" sz="1100" dirty="0" smtClean="0">
                          <a:solidFill>
                            <a:schemeClr val="tx1"/>
                          </a:solidFill>
                        </a:rPr>
                        <a:t> gj.sn. NIBOR</a:t>
                      </a:r>
                      <a:endParaRPr lang="nb-NO" sz="11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06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19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29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46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63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</a:tr>
            </a:tbl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573485580"/>
              </p:ext>
            </p:extLst>
          </p:nvPr>
        </p:nvGraphicFramePr>
        <p:xfrm>
          <a:off x="293420" y="1640815"/>
          <a:ext cx="7508129" cy="4965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6862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4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374638" y="477574"/>
            <a:ext cx="7536321" cy="787908"/>
          </a:xfrm>
        </p:spPr>
        <p:txBody>
          <a:bodyPr/>
          <a:lstStyle/>
          <a:p>
            <a:r>
              <a:rPr lang="nb-NO" sz="3200" b="1" dirty="0" smtClean="0">
                <a:solidFill>
                  <a:schemeClr val="accent1"/>
                </a:solidFill>
              </a:rPr>
              <a:t>PM: Marginal økning i utlånsmargin siste </a:t>
            </a:r>
            <a:r>
              <a:rPr lang="nb-NO" sz="3200" b="1" dirty="0" err="1" smtClean="0">
                <a:solidFill>
                  <a:schemeClr val="accent1"/>
                </a:solidFill>
              </a:rPr>
              <a:t>kv</a:t>
            </a:r>
            <a:r>
              <a:rPr lang="nb-NO" sz="3200" b="1" dirty="0" smtClean="0">
                <a:solidFill>
                  <a:schemeClr val="accent1"/>
                </a:solidFill>
              </a:rPr>
              <a:t>.</a:t>
            </a:r>
            <a:br>
              <a:rPr lang="nb-NO" sz="3200" b="1" dirty="0" smtClean="0">
                <a:solidFill>
                  <a:schemeClr val="accent1"/>
                </a:solidFill>
              </a:rPr>
            </a:br>
            <a:r>
              <a:rPr lang="nb-NO" sz="3200" b="1" dirty="0" smtClean="0">
                <a:solidFill>
                  <a:schemeClr val="accent1"/>
                </a:solidFill>
              </a:rPr>
              <a:t>BM: Redusert utlånsmargin siste kvartal</a:t>
            </a:r>
            <a:endParaRPr lang="nb-NO" sz="3200" dirty="0"/>
          </a:p>
        </p:txBody>
      </p:sp>
      <p:sp>
        <p:nvSpPr>
          <p:cNvPr id="7" name="Rektangel 29"/>
          <p:cNvSpPr/>
          <p:nvPr/>
        </p:nvSpPr>
        <p:spPr>
          <a:xfrm>
            <a:off x="8124843" y="2000800"/>
            <a:ext cx="4567755" cy="3313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2133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>
                <a:solidFill>
                  <a:schemeClr val="bg1"/>
                </a:solidFill>
              </a:rPr>
              <a:t>Utvikling gjennomsnittlig 3 </a:t>
            </a:r>
            <a:r>
              <a:rPr lang="nb-NO" sz="1867" dirty="0" err="1">
                <a:solidFill>
                  <a:schemeClr val="bg1"/>
                </a:solidFill>
              </a:rPr>
              <a:t>mnd</a:t>
            </a:r>
            <a:r>
              <a:rPr lang="nb-NO" sz="1867" dirty="0">
                <a:solidFill>
                  <a:schemeClr val="bg1"/>
                </a:solidFill>
              </a:rPr>
              <a:t> NIBOR:</a:t>
            </a:r>
            <a:endParaRPr lang="nb-NO" sz="2133" b="1" dirty="0">
              <a:solidFill>
                <a:schemeClr val="bg1"/>
              </a:solidFill>
            </a:endParaRPr>
          </a:p>
          <a:p>
            <a:pPr marL="456966" lvl="2" defTabSz="342734">
              <a:spcBef>
                <a:spcPts val="800"/>
              </a:spcBef>
              <a:buClr>
                <a:srgbClr val="CBCBCB"/>
              </a:buClr>
            </a:pPr>
            <a:endParaRPr lang="nb-NO" sz="2133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dirty="0">
              <a:solidFill>
                <a:srgbClr val="135EA0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342637422"/>
              </p:ext>
            </p:extLst>
          </p:nvPr>
        </p:nvGraphicFramePr>
        <p:xfrm>
          <a:off x="293420" y="1732112"/>
          <a:ext cx="7508129" cy="4965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ell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0662103"/>
              </p:ext>
            </p:extLst>
          </p:nvPr>
        </p:nvGraphicFramePr>
        <p:xfrm>
          <a:off x="8114098" y="3246562"/>
          <a:ext cx="4077903" cy="86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623"/>
                <a:gridCol w="595456"/>
                <a:gridCol w="595456"/>
                <a:gridCol w="595456"/>
                <a:gridCol w="595456"/>
                <a:gridCol w="595456"/>
              </a:tblGrid>
              <a:tr h="406400">
                <a:tc>
                  <a:txBody>
                    <a:bodyPr/>
                    <a:lstStyle/>
                    <a:p>
                      <a:endParaRPr lang="nb-NO" sz="13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3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4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8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1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9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2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9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3. </a:t>
                      </a:r>
                      <a:r>
                        <a:rPr lang="nb-NO" sz="900" dirty="0" err="1" smtClean="0"/>
                        <a:t>kv</a:t>
                      </a:r>
                      <a:r>
                        <a:rPr lang="nb-NO" sz="900" dirty="0" smtClean="0"/>
                        <a:t>. 19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</a:tr>
              <a:tr h="447040">
                <a:tc>
                  <a:txBody>
                    <a:bodyPr/>
                    <a:lstStyle/>
                    <a:p>
                      <a:r>
                        <a:rPr lang="nb-NO" sz="1100" dirty="0" smtClean="0">
                          <a:solidFill>
                            <a:schemeClr val="tx1"/>
                          </a:solidFill>
                        </a:rPr>
                        <a:t>3 </a:t>
                      </a:r>
                      <a:r>
                        <a:rPr lang="nb-NO" sz="1100" dirty="0" err="1" smtClean="0">
                          <a:solidFill>
                            <a:schemeClr val="tx1"/>
                          </a:solidFill>
                        </a:rPr>
                        <a:t>mnd</a:t>
                      </a:r>
                      <a:r>
                        <a:rPr lang="nb-NO" sz="1100" dirty="0" smtClean="0">
                          <a:solidFill>
                            <a:schemeClr val="tx1"/>
                          </a:solidFill>
                        </a:rPr>
                        <a:t> gj.sn. NIBOR</a:t>
                      </a:r>
                      <a:endParaRPr lang="nb-NO" sz="11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06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19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29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46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900" dirty="0" smtClean="0"/>
                        <a:t>1,63 %</a:t>
                      </a:r>
                      <a:endParaRPr lang="nb-NO" sz="900" dirty="0"/>
                    </a:p>
                  </a:txBody>
                  <a:tcPr marL="121920" marR="121920" marT="60960" marB="6096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114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5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781252" y="460821"/>
            <a:ext cx="7042941" cy="1083374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Positiv utvikling i </a:t>
            </a:r>
            <a:r>
              <a:rPr lang="nb-NO" sz="4400" b="1" dirty="0">
                <a:solidFill>
                  <a:schemeClr val="accent1"/>
                </a:solidFill>
              </a:rPr>
              <a:t>andre inntekter</a:t>
            </a:r>
            <a:endParaRPr lang="nb-NO" sz="4400" dirty="0"/>
          </a:p>
        </p:txBody>
      </p:sp>
      <p:graphicFrame>
        <p:nvGraphicFramePr>
          <p:cNvPr id="2" name="Tabell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215254"/>
              </p:ext>
            </p:extLst>
          </p:nvPr>
        </p:nvGraphicFramePr>
        <p:xfrm>
          <a:off x="1402671" y="1847216"/>
          <a:ext cx="5066709" cy="4118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1877"/>
                <a:gridCol w="1083075"/>
                <a:gridCol w="1071757"/>
              </a:tblGrid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løp i </a:t>
                      </a:r>
                      <a:r>
                        <a:rPr lang="nb-NO" sz="1200" b="0" i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ill</a:t>
                      </a:r>
                      <a:r>
                        <a:rPr lang="nb-NO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9.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9.18</a:t>
                      </a:r>
                      <a:endParaRPr lang="nb-NO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alingsformidling m.m.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</a:t>
                      </a:r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73 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sikring/pensjon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ring/plassering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rantiprovisjon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iendomsmegl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nskapshuset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nb-NO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</a:t>
                      </a:r>
                      <a:endParaRPr lang="nb-NO" sz="1400" b="1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endParaRPr lang="nb-NO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51482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etto provisjons- og andre inntekter* 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           </a:t>
                      </a:r>
                      <a:r>
                        <a:rPr lang="nb-NO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48 </a:t>
                      </a:r>
                      <a:endParaRPr lang="nb-NO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b-NO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endParaRPr lang="nb-NO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TekstSylinder 2"/>
          <p:cNvSpPr txBox="1"/>
          <p:nvPr/>
        </p:nvSpPr>
        <p:spPr>
          <a:xfrm>
            <a:off x="1349404" y="5965792"/>
            <a:ext cx="43427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>
                <a:solidFill>
                  <a:schemeClr val="tx2"/>
                </a:solidFill>
              </a:rPr>
              <a:t>*</a:t>
            </a:r>
            <a:r>
              <a:rPr lang="nb-NO" sz="1100" dirty="0" smtClean="0">
                <a:solidFill>
                  <a:schemeClr val="tx2"/>
                </a:solidFill>
              </a:rPr>
              <a:t>eksklusive provisjonsinntekt kredittforetak </a:t>
            </a:r>
            <a:r>
              <a:rPr lang="nb-NO" sz="1100" dirty="0">
                <a:solidFill>
                  <a:schemeClr val="tx2"/>
                </a:solidFill>
              </a:rPr>
              <a:t>og gevinst salg bankbygg</a:t>
            </a: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071015828"/>
              </p:ext>
            </p:extLst>
          </p:nvPr>
        </p:nvGraphicFramePr>
        <p:xfrm>
          <a:off x="8140822" y="164148"/>
          <a:ext cx="4238594" cy="6441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41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6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279168" y="265571"/>
            <a:ext cx="7543539" cy="997196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Resultatandel </a:t>
            </a:r>
            <a:r>
              <a:rPr lang="nb-NO" sz="4000" b="1" dirty="0" err="1" smtClean="0">
                <a:solidFill>
                  <a:schemeClr val="accent1"/>
                </a:solidFill>
              </a:rPr>
              <a:t>felleskontrollert</a:t>
            </a:r>
            <a:r>
              <a:rPr lang="nb-NO" sz="4000" b="1" dirty="0" smtClean="0">
                <a:solidFill>
                  <a:schemeClr val="accent1"/>
                </a:solidFill>
              </a:rPr>
              <a:t> virksomhet og tilknyttede selskaper</a:t>
            </a:r>
            <a:endParaRPr lang="nb-NO" sz="4000" dirty="0"/>
          </a:p>
        </p:txBody>
      </p:sp>
      <p:sp>
        <p:nvSpPr>
          <p:cNvPr id="7" name="Rektangel 29"/>
          <p:cNvSpPr/>
          <p:nvPr/>
        </p:nvSpPr>
        <p:spPr>
          <a:xfrm>
            <a:off x="8211930" y="1797224"/>
            <a:ext cx="3866860" cy="5099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>
                <a:solidFill>
                  <a:schemeClr val="bg1"/>
                </a:solidFill>
              </a:rPr>
              <a:t>*2019 inkluderer fusjon forsikring (</a:t>
            </a:r>
            <a:r>
              <a:rPr lang="nb-NO" sz="1867" dirty="0" err="1">
                <a:solidFill>
                  <a:schemeClr val="bg1"/>
                </a:solidFill>
              </a:rPr>
              <a:t>Fremtind</a:t>
            </a:r>
            <a:r>
              <a:rPr lang="nb-NO" sz="1867" dirty="0">
                <a:solidFill>
                  <a:schemeClr val="bg1"/>
                </a:solidFill>
              </a:rPr>
              <a:t>) (72 </a:t>
            </a:r>
            <a:r>
              <a:rPr lang="nb-NO" sz="1867" dirty="0" err="1">
                <a:solidFill>
                  <a:schemeClr val="bg1"/>
                </a:solidFill>
              </a:rPr>
              <a:t>mill</a:t>
            </a:r>
            <a:r>
              <a:rPr lang="nb-NO" sz="1867" dirty="0">
                <a:solidFill>
                  <a:schemeClr val="bg1"/>
                </a:solidFill>
              </a:rPr>
              <a:t>) og </a:t>
            </a:r>
            <a:r>
              <a:rPr lang="nb-NO" sz="1867" dirty="0" err="1">
                <a:solidFill>
                  <a:schemeClr val="bg1"/>
                </a:solidFill>
              </a:rPr>
              <a:t>oppskr</a:t>
            </a:r>
            <a:r>
              <a:rPr lang="nb-NO" sz="1867" dirty="0">
                <a:solidFill>
                  <a:schemeClr val="bg1"/>
                </a:solidFill>
              </a:rPr>
              <a:t>. </a:t>
            </a:r>
            <a:r>
              <a:rPr lang="nb-NO" sz="1867" dirty="0" smtClean="0">
                <a:solidFill>
                  <a:schemeClr val="bg1"/>
                </a:solidFill>
              </a:rPr>
              <a:t>eiendom </a:t>
            </a:r>
            <a:r>
              <a:rPr lang="nb-NO" sz="1867" dirty="0">
                <a:solidFill>
                  <a:schemeClr val="bg1"/>
                </a:solidFill>
              </a:rPr>
              <a:t>SB 1 Forsikring (18 </a:t>
            </a:r>
            <a:r>
              <a:rPr lang="nb-NO" sz="1867" dirty="0" err="1">
                <a:solidFill>
                  <a:schemeClr val="bg1"/>
                </a:solidFill>
              </a:rPr>
              <a:t>mill</a:t>
            </a:r>
            <a:r>
              <a:rPr lang="nb-NO" sz="1867" dirty="0">
                <a:solidFill>
                  <a:schemeClr val="bg1"/>
                </a:solidFill>
              </a:rPr>
              <a:t>)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>
                <a:solidFill>
                  <a:schemeClr val="bg1"/>
                </a:solidFill>
              </a:rPr>
              <a:t>**Ny eiermodell i BN </a:t>
            </a:r>
            <a:r>
              <a:rPr lang="nb-NO" sz="1867" dirty="0" smtClean="0">
                <a:solidFill>
                  <a:schemeClr val="bg1"/>
                </a:solidFill>
              </a:rPr>
              <a:t>Bank: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 smtClean="0">
                <a:solidFill>
                  <a:schemeClr val="bg1"/>
                </a:solidFill>
              </a:rPr>
              <a:t>Samarbeidende Sparebanker </a:t>
            </a:r>
            <a:r>
              <a:rPr lang="nb-NO" sz="1867" dirty="0" err="1" smtClean="0">
                <a:solidFill>
                  <a:schemeClr val="bg1"/>
                </a:solidFill>
              </a:rPr>
              <a:t>Bankinvest</a:t>
            </a:r>
            <a:r>
              <a:rPr lang="nb-NO" sz="1867" dirty="0" smtClean="0">
                <a:solidFill>
                  <a:schemeClr val="bg1"/>
                </a:solidFill>
              </a:rPr>
              <a:t> AS ble lagt ned i 2. </a:t>
            </a:r>
            <a:r>
              <a:rPr lang="nb-NO" sz="1867" dirty="0" err="1" smtClean="0">
                <a:solidFill>
                  <a:schemeClr val="bg1"/>
                </a:solidFill>
              </a:rPr>
              <a:t>kv</a:t>
            </a:r>
            <a:r>
              <a:rPr lang="nb-NO" sz="1867" dirty="0" smtClean="0">
                <a:solidFill>
                  <a:schemeClr val="bg1"/>
                </a:solidFill>
              </a:rPr>
              <a:t>. 19 og eierskap konvertert til direkte eierskap i BN Bank.</a:t>
            </a:r>
            <a:endParaRPr lang="nb-NO" sz="2133" b="1" dirty="0">
              <a:solidFill>
                <a:schemeClr val="bg1"/>
              </a:solidFill>
            </a:endParaRPr>
          </a:p>
          <a:p>
            <a:pPr marL="456966" lvl="2" defTabSz="342734">
              <a:spcBef>
                <a:spcPts val="800"/>
              </a:spcBef>
              <a:buClr>
                <a:srgbClr val="CBCBCB"/>
              </a:buClr>
            </a:pPr>
            <a:endParaRPr lang="nb-NO" sz="2133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dirty="0">
              <a:solidFill>
                <a:srgbClr val="135EA0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graphicFrame>
        <p:nvGraphicFramePr>
          <p:cNvPr id="2" name="Tabell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683028"/>
              </p:ext>
            </p:extLst>
          </p:nvPr>
        </p:nvGraphicFramePr>
        <p:xfrm>
          <a:off x="72572" y="2708365"/>
          <a:ext cx="7956732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3142"/>
                <a:gridCol w="1541417"/>
                <a:gridCol w="1576252"/>
                <a:gridCol w="1645921"/>
              </a:tblGrid>
              <a:tr h="29609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2000" dirty="0" smtClean="0"/>
                        <a:t>30.09.19</a:t>
                      </a:r>
                      <a:endParaRPr lang="nb-NO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2000" dirty="0" smtClean="0"/>
                        <a:t>30.09.18</a:t>
                      </a:r>
                      <a:endParaRPr lang="nb-NO" sz="2000" dirty="0"/>
                    </a:p>
                  </a:txBody>
                  <a:tcPr/>
                </a:tc>
              </a:tr>
              <a:tr h="418760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Sparebank 1 </a:t>
                      </a:r>
                      <a:r>
                        <a:rPr lang="nb-NO" sz="1400" dirty="0" err="1" smtClean="0"/>
                        <a:t>Samspar</a:t>
                      </a:r>
                      <a:r>
                        <a:rPr lang="nb-NO" sz="1400" dirty="0" smtClean="0"/>
                        <a:t> AS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Eierandel</a:t>
                      </a:r>
                    </a:p>
                    <a:p>
                      <a:r>
                        <a:rPr lang="nb-NO" sz="1200" dirty="0" smtClean="0"/>
                        <a:t>Resultatandel</a:t>
                      </a:r>
                      <a:r>
                        <a:rPr lang="nb-NO" sz="1200" baseline="0" dirty="0" smtClean="0"/>
                        <a:t> FKV</a:t>
                      </a:r>
                      <a:endParaRPr lang="nb-NO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15,57 %</a:t>
                      </a:r>
                    </a:p>
                    <a:p>
                      <a:pPr algn="r"/>
                      <a:r>
                        <a:rPr lang="nb-NO" sz="1400" dirty="0" smtClean="0"/>
                        <a:t>112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15,57 %</a:t>
                      </a:r>
                    </a:p>
                    <a:p>
                      <a:pPr algn="r"/>
                      <a:r>
                        <a:rPr lang="nb-NO" sz="1400" dirty="0" smtClean="0"/>
                        <a:t>29,4</a:t>
                      </a:r>
                      <a:endParaRPr lang="nb-NO" sz="1400" dirty="0"/>
                    </a:p>
                  </a:txBody>
                  <a:tcPr/>
                </a:tc>
              </a:tr>
              <a:tr h="418760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Samarbeidende Sparebanker </a:t>
                      </a:r>
                      <a:r>
                        <a:rPr lang="nb-NO" sz="1400" dirty="0" err="1" smtClean="0"/>
                        <a:t>Bankinvest</a:t>
                      </a:r>
                      <a:r>
                        <a:rPr lang="nb-NO" sz="1400" baseline="0" dirty="0" smtClean="0"/>
                        <a:t> AS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Eierandel</a:t>
                      </a:r>
                    </a:p>
                    <a:p>
                      <a:r>
                        <a:rPr lang="nb-NO" sz="1200" dirty="0" smtClean="0"/>
                        <a:t>Resultatandel</a:t>
                      </a:r>
                      <a:r>
                        <a:rPr lang="nb-NO" sz="1200" baseline="0" dirty="0" smtClean="0"/>
                        <a:t> FKV</a:t>
                      </a:r>
                      <a:endParaRPr lang="nb-NO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b-NO" sz="1400" dirty="0" smtClean="0"/>
                    </a:p>
                    <a:p>
                      <a:pPr algn="r"/>
                      <a:r>
                        <a:rPr lang="nb-NO" sz="1400" dirty="0" smtClean="0"/>
                        <a:t>3,7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19,28 %</a:t>
                      </a:r>
                    </a:p>
                    <a:p>
                      <a:pPr algn="r"/>
                      <a:r>
                        <a:rPr lang="nb-NO" sz="1400" dirty="0" smtClean="0"/>
                        <a:t>8,3</a:t>
                      </a:r>
                      <a:endParaRPr lang="nb-NO" sz="1400" dirty="0"/>
                    </a:p>
                  </a:txBody>
                  <a:tcPr/>
                </a:tc>
              </a:tr>
              <a:tr h="418760">
                <a:tc>
                  <a:txBody>
                    <a:bodyPr/>
                    <a:lstStyle/>
                    <a:p>
                      <a:r>
                        <a:rPr lang="nb-NO" sz="1400" baseline="0" dirty="0" smtClean="0"/>
                        <a:t>BN Bank ASA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Eierandel</a:t>
                      </a:r>
                    </a:p>
                    <a:p>
                      <a:r>
                        <a:rPr lang="nb-NO" sz="1200" dirty="0" smtClean="0"/>
                        <a:t>Resultatandel</a:t>
                      </a:r>
                      <a:r>
                        <a:rPr lang="nb-NO" sz="1200" baseline="0" dirty="0" smtClean="0"/>
                        <a:t> TS</a:t>
                      </a:r>
                      <a:endParaRPr lang="nb-NO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/>
                        <a:t>5,0 %</a:t>
                      </a:r>
                    </a:p>
                    <a:p>
                      <a:pPr algn="r"/>
                      <a:r>
                        <a:rPr lang="nb-NO" sz="1400" dirty="0" smtClean="0"/>
                        <a:t>6,0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b-NO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965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7679" y="0"/>
            <a:ext cx="4084323" cy="6858000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7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800366" y="360447"/>
            <a:ext cx="7042941" cy="997196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Lave tap over tid</a:t>
            </a:r>
            <a:r>
              <a:rPr lang="nb-NO" sz="4000" b="1" dirty="0">
                <a:solidFill>
                  <a:schemeClr val="accent1"/>
                </a:solidFill>
              </a:rPr>
              <a:t/>
            </a:r>
            <a:br>
              <a:rPr lang="nb-NO" sz="4000" b="1" dirty="0">
                <a:solidFill>
                  <a:schemeClr val="accent1"/>
                </a:solidFill>
              </a:rPr>
            </a:br>
            <a:endParaRPr lang="nb-NO" sz="4000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4229902491"/>
              </p:ext>
            </p:extLst>
          </p:nvPr>
        </p:nvGraphicFramePr>
        <p:xfrm>
          <a:off x="455857" y="1834969"/>
          <a:ext cx="7118115" cy="4853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86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8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93420" y="534003"/>
            <a:ext cx="7782176" cy="1608517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EK-avkastning 12,1 % mot mål 10 %</a:t>
            </a:r>
            <a:r>
              <a:rPr lang="nb-NO" sz="4400" b="1" dirty="0" smtClean="0">
                <a:solidFill>
                  <a:schemeClr val="accent1"/>
                </a:solidFill>
              </a:rPr>
              <a:t/>
            </a:r>
            <a:br>
              <a:rPr lang="nb-NO" sz="4400" b="1" dirty="0" smtClean="0">
                <a:solidFill>
                  <a:schemeClr val="accent1"/>
                </a:solidFill>
              </a:rPr>
            </a:b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sp>
        <p:nvSpPr>
          <p:cNvPr id="12" name="Rektangel 11"/>
          <p:cNvSpPr/>
          <p:nvPr/>
        </p:nvSpPr>
        <p:spPr>
          <a:xfrm>
            <a:off x="8304246" y="2468894"/>
            <a:ext cx="355332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 smtClean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sp>
        <p:nvSpPr>
          <p:cNvPr id="9" name="TekstSylinder 8"/>
          <p:cNvSpPr txBox="1"/>
          <p:nvPr/>
        </p:nvSpPr>
        <p:spPr>
          <a:xfrm>
            <a:off x="8616500" y="2142520"/>
            <a:ext cx="345471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u="sng" dirty="0" smtClean="0">
                <a:solidFill>
                  <a:schemeClr val="bg1"/>
                </a:solidFill>
              </a:rPr>
              <a:t>EK-avkastning justert </a:t>
            </a:r>
          </a:p>
          <a:p>
            <a:r>
              <a:rPr lang="nb-NO" sz="1400" dirty="0" smtClean="0">
                <a:solidFill>
                  <a:schemeClr val="bg1"/>
                </a:solidFill>
              </a:rPr>
              <a:t>Justert for:</a:t>
            </a:r>
          </a:p>
          <a:p>
            <a:r>
              <a:rPr lang="nb-NO" sz="1400" dirty="0" smtClean="0">
                <a:solidFill>
                  <a:schemeClr val="bg1"/>
                </a:solidFill>
              </a:rPr>
              <a:t>2019: </a:t>
            </a:r>
          </a:p>
          <a:p>
            <a:r>
              <a:rPr lang="nb-NO" sz="1400" dirty="0" smtClean="0">
                <a:solidFill>
                  <a:schemeClr val="bg1"/>
                </a:solidFill>
              </a:rPr>
              <a:t>Fusjon forsikring (</a:t>
            </a:r>
            <a:r>
              <a:rPr lang="nb-NO" sz="1400" dirty="0" err="1" smtClean="0">
                <a:solidFill>
                  <a:schemeClr val="bg1"/>
                </a:solidFill>
              </a:rPr>
              <a:t>Fremtind</a:t>
            </a:r>
            <a:r>
              <a:rPr lang="nb-NO" sz="1400" dirty="0" smtClean="0">
                <a:solidFill>
                  <a:schemeClr val="bg1"/>
                </a:solidFill>
              </a:rPr>
              <a:t>) (72 </a:t>
            </a:r>
            <a:r>
              <a:rPr lang="nb-NO" sz="1400" dirty="0" err="1" smtClean="0">
                <a:solidFill>
                  <a:schemeClr val="bg1"/>
                </a:solidFill>
              </a:rPr>
              <a:t>mill</a:t>
            </a:r>
            <a:r>
              <a:rPr lang="nb-NO" sz="1400" dirty="0" smtClean="0">
                <a:solidFill>
                  <a:schemeClr val="bg1"/>
                </a:solidFill>
              </a:rPr>
              <a:t>)</a:t>
            </a:r>
          </a:p>
          <a:p>
            <a:endParaRPr lang="nb-NO" sz="1400" dirty="0" smtClean="0">
              <a:solidFill>
                <a:srgbClr val="FF0000"/>
              </a:solidFill>
            </a:endParaRPr>
          </a:p>
          <a:p>
            <a:r>
              <a:rPr lang="nb-NO" sz="1400" dirty="0" smtClean="0">
                <a:solidFill>
                  <a:schemeClr val="bg1"/>
                </a:solidFill>
              </a:rPr>
              <a:t>2018:</a:t>
            </a:r>
          </a:p>
          <a:p>
            <a:r>
              <a:rPr lang="nb-NO" sz="1400" dirty="0" smtClean="0">
                <a:solidFill>
                  <a:schemeClr val="bg1"/>
                </a:solidFill>
              </a:rPr>
              <a:t>Salg </a:t>
            </a:r>
            <a:r>
              <a:rPr lang="nb-NO" sz="1400" dirty="0">
                <a:solidFill>
                  <a:schemeClr val="bg1"/>
                </a:solidFill>
              </a:rPr>
              <a:t>av eiendom </a:t>
            </a:r>
            <a:r>
              <a:rPr lang="nb-NO" sz="1400" dirty="0" smtClean="0">
                <a:solidFill>
                  <a:schemeClr val="bg1"/>
                </a:solidFill>
              </a:rPr>
              <a:t>(91 </a:t>
            </a:r>
            <a:r>
              <a:rPr lang="nb-NO" sz="1400" dirty="0" err="1" smtClean="0">
                <a:solidFill>
                  <a:schemeClr val="bg1"/>
                </a:solidFill>
              </a:rPr>
              <a:t>mill</a:t>
            </a:r>
            <a:r>
              <a:rPr lang="nb-NO" sz="1400" dirty="0" smtClean="0">
                <a:solidFill>
                  <a:schemeClr val="bg1"/>
                </a:solidFill>
              </a:rPr>
              <a:t>)</a:t>
            </a:r>
            <a:endParaRPr lang="nb-NO" sz="1400" dirty="0">
              <a:solidFill>
                <a:schemeClr val="bg1"/>
              </a:solidFill>
            </a:endParaRPr>
          </a:p>
          <a:p>
            <a:r>
              <a:rPr lang="nb-NO" sz="1400" dirty="0" smtClean="0">
                <a:solidFill>
                  <a:schemeClr val="bg1"/>
                </a:solidFill>
              </a:rPr>
              <a:t>Avvikling ytelsespensjon (102 </a:t>
            </a:r>
            <a:r>
              <a:rPr lang="nb-NO" sz="1400" dirty="0" err="1" smtClean="0">
                <a:solidFill>
                  <a:schemeClr val="bg1"/>
                </a:solidFill>
              </a:rPr>
              <a:t>mill</a:t>
            </a:r>
            <a:r>
              <a:rPr lang="nb-NO" sz="1400" dirty="0" smtClean="0">
                <a:solidFill>
                  <a:schemeClr val="bg1"/>
                </a:solidFill>
              </a:rPr>
              <a:t>)</a:t>
            </a:r>
          </a:p>
          <a:p>
            <a:endParaRPr lang="nb-NO" sz="1400" dirty="0" smtClean="0">
              <a:solidFill>
                <a:schemeClr val="bg1"/>
              </a:solidFill>
            </a:endParaRPr>
          </a:p>
          <a:p>
            <a:r>
              <a:rPr lang="nb-NO" sz="1400" dirty="0" smtClean="0">
                <a:solidFill>
                  <a:schemeClr val="bg1"/>
                </a:solidFill>
              </a:rPr>
              <a:t>2017:</a:t>
            </a:r>
            <a:endParaRPr lang="nb-NO" sz="1400" dirty="0">
              <a:solidFill>
                <a:schemeClr val="bg1"/>
              </a:solidFill>
            </a:endParaRPr>
          </a:p>
          <a:p>
            <a:r>
              <a:rPr lang="nb-NO" sz="1400" dirty="0">
                <a:solidFill>
                  <a:schemeClr val="bg1"/>
                </a:solidFill>
              </a:rPr>
              <a:t>I</a:t>
            </a:r>
            <a:r>
              <a:rPr lang="nb-NO" sz="1400" dirty="0" smtClean="0">
                <a:solidFill>
                  <a:schemeClr val="bg1"/>
                </a:solidFill>
              </a:rPr>
              <a:t>nntektsføring av negativ goodwill (89 </a:t>
            </a:r>
            <a:r>
              <a:rPr lang="nb-NO" sz="1400" dirty="0" err="1" smtClean="0">
                <a:solidFill>
                  <a:schemeClr val="bg1"/>
                </a:solidFill>
              </a:rPr>
              <a:t>mill</a:t>
            </a:r>
            <a:r>
              <a:rPr lang="nb-NO" sz="1400" dirty="0" smtClean="0">
                <a:solidFill>
                  <a:schemeClr val="bg1"/>
                </a:solidFill>
              </a:rPr>
              <a:t>)</a:t>
            </a:r>
            <a:endParaRPr lang="nb-NO" sz="1400" dirty="0">
              <a:solidFill>
                <a:schemeClr val="bg1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571685082"/>
              </p:ext>
            </p:extLst>
          </p:nvPr>
        </p:nvGraphicFramePr>
        <p:xfrm>
          <a:off x="455857" y="1427130"/>
          <a:ext cx="7379924" cy="5014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076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499434170"/>
              </p:ext>
            </p:extLst>
          </p:nvPr>
        </p:nvGraphicFramePr>
        <p:xfrm>
          <a:off x="397356" y="1546940"/>
          <a:ext cx="7118318" cy="4977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19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11" name="Tittel 1"/>
          <p:cNvSpPr txBox="1">
            <a:spLocks/>
          </p:cNvSpPr>
          <p:nvPr/>
        </p:nvSpPr>
        <p:spPr>
          <a:xfrm>
            <a:off x="455857" y="376575"/>
            <a:ext cx="11910308" cy="98488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697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533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4000" b="1" dirty="0" smtClean="0">
                <a:solidFill>
                  <a:schemeClr val="accent1"/>
                </a:solidFill>
              </a:rPr>
              <a:t>Solid bank med god vekst- </a:t>
            </a:r>
          </a:p>
          <a:p>
            <a:r>
              <a:rPr lang="nb-NO" sz="4000" b="1" dirty="0" smtClean="0">
                <a:solidFill>
                  <a:schemeClr val="accent1"/>
                </a:solidFill>
              </a:rPr>
              <a:t>og utbytteevne fremover</a:t>
            </a:r>
            <a:endParaRPr lang="nb-NO" sz="4800" b="1" dirty="0">
              <a:solidFill>
                <a:schemeClr val="accent1"/>
              </a:solidFill>
            </a:endParaRPr>
          </a:p>
        </p:txBody>
      </p:sp>
      <p:sp>
        <p:nvSpPr>
          <p:cNvPr id="12" name="TekstSylinder 11"/>
          <p:cNvSpPr txBox="1"/>
          <p:nvPr/>
        </p:nvSpPr>
        <p:spPr>
          <a:xfrm>
            <a:off x="8361042" y="1891385"/>
            <a:ext cx="3587118" cy="3088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3934">
              <a:buFont typeface="Wingdings" panose="05000000000000000000" pitchFamily="2" charset="2"/>
              <a:buChar char="§"/>
            </a:pPr>
            <a:endParaRPr lang="nb-NO" sz="1600" dirty="0">
              <a:solidFill>
                <a:schemeClr val="bg1"/>
              </a:solidFill>
            </a:endParaRP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r>
              <a:rPr lang="nb-NO" sz="1600" dirty="0" smtClean="0">
                <a:solidFill>
                  <a:schemeClr val="bg1"/>
                </a:solidFill>
              </a:rPr>
              <a:t>Ren kjernekapital på 16,9 % (inklusive periodens resultat)</a:t>
            </a: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endParaRPr lang="nb-NO" sz="1600" dirty="0" smtClean="0">
              <a:solidFill>
                <a:schemeClr val="bg1"/>
              </a:solidFill>
            </a:endParaRP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r>
              <a:rPr lang="nb-NO" sz="1600" dirty="0" err="1" smtClean="0">
                <a:solidFill>
                  <a:schemeClr val="bg1"/>
                </a:solidFill>
              </a:rPr>
              <a:t>Leverage</a:t>
            </a:r>
            <a:r>
              <a:rPr lang="nb-NO" sz="1600" dirty="0" smtClean="0">
                <a:solidFill>
                  <a:schemeClr val="bg1"/>
                </a:solidFill>
              </a:rPr>
              <a:t> ratio 8,4 (konsolidert)</a:t>
            </a:r>
          </a:p>
          <a:p>
            <a:pPr marL="285750" indent="-285750" defTabSz="913934">
              <a:buFont typeface="Wingdings" panose="05000000000000000000" pitchFamily="2" charset="2"/>
              <a:buChar char="§"/>
            </a:pPr>
            <a:endParaRPr lang="nb-NO" sz="1600" dirty="0" smtClean="0">
              <a:solidFill>
                <a:schemeClr val="bg1"/>
              </a:solidFill>
            </a:endParaRP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r>
              <a:rPr lang="nb-NO" sz="1600" dirty="0" smtClean="0">
                <a:solidFill>
                  <a:schemeClr val="bg1"/>
                </a:solidFill>
              </a:rPr>
              <a:t>Pilar </a:t>
            </a:r>
            <a:r>
              <a:rPr lang="nb-NO" sz="1600" dirty="0">
                <a:solidFill>
                  <a:schemeClr val="bg1"/>
                </a:solidFill>
              </a:rPr>
              <a:t>II </a:t>
            </a:r>
            <a:r>
              <a:rPr lang="nb-NO" sz="1600" dirty="0" smtClean="0">
                <a:solidFill>
                  <a:schemeClr val="bg1"/>
                </a:solidFill>
              </a:rPr>
              <a:t>krav på 1,9 % fra 31.12.18.</a:t>
            </a: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endParaRPr lang="nb-NO" sz="1600" dirty="0" smtClean="0">
              <a:solidFill>
                <a:schemeClr val="bg1"/>
              </a:solidFill>
            </a:endParaRPr>
          </a:p>
          <a:p>
            <a:pPr marL="380990" indent="-380990" defTabSz="913934">
              <a:buFont typeface="Wingdings" panose="05000000000000000000" pitchFamily="2" charset="2"/>
              <a:buChar char="§"/>
            </a:pPr>
            <a:r>
              <a:rPr lang="nb-NO" sz="1600" dirty="0" smtClean="0">
                <a:solidFill>
                  <a:schemeClr val="bg1"/>
                </a:solidFill>
              </a:rPr>
              <a:t>Nytt kapitalmål ren kjernekapital på 15,5 % i 2019 (</a:t>
            </a:r>
            <a:r>
              <a:rPr lang="nb-NO" sz="1600" dirty="0" err="1" smtClean="0">
                <a:solidFill>
                  <a:schemeClr val="bg1"/>
                </a:solidFill>
              </a:rPr>
              <a:t>motsyklisk</a:t>
            </a:r>
            <a:r>
              <a:rPr lang="nb-NO" sz="1600" dirty="0" smtClean="0">
                <a:solidFill>
                  <a:schemeClr val="bg1"/>
                </a:solidFill>
              </a:rPr>
              <a:t> buffer opp fra 2,0 til 2,5 %)</a:t>
            </a:r>
            <a:endParaRPr lang="nb-NO" sz="1600" dirty="0">
              <a:solidFill>
                <a:schemeClr val="bg1"/>
              </a:solidFill>
            </a:endParaRPr>
          </a:p>
          <a:p>
            <a:pPr marL="380990" indent="-380990" defTabSz="913934">
              <a:buFontTx/>
              <a:buChar char="-"/>
            </a:pPr>
            <a:endParaRPr lang="nb-NO" sz="1867" dirty="0">
              <a:solidFill>
                <a:srgbClr val="1F82BA">
                  <a:lumMod val="75000"/>
                </a:srgbClr>
              </a:solidFill>
            </a:endParaRPr>
          </a:p>
        </p:txBody>
      </p:sp>
      <p:sp>
        <p:nvSpPr>
          <p:cNvPr id="14" name="Plassholder for tekst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157896" y="2540080"/>
            <a:ext cx="791633" cy="22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r>
              <a:rPr lang="nb-NO" altLang="en-US" sz="1200" dirty="0" err="1">
                <a:solidFill>
                  <a:schemeClr val="accent1"/>
                </a:solidFill>
              </a:rPr>
              <a:t>Adm.buffe</a:t>
            </a:r>
            <a:r>
              <a:rPr lang="nb-NO" altLang="en-US" sz="1200" dirty="0" err="1">
                <a:solidFill>
                  <a:srgbClr val="032A74"/>
                </a:solidFill>
              </a:rPr>
              <a:t>r</a:t>
            </a:r>
            <a:endParaRPr lang="nb-NO" sz="1200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15" name="Plassholder for tekst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156157" y="4408578"/>
            <a:ext cx="1204469" cy="562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r>
              <a:rPr lang="nb-NO" sz="1200" dirty="0">
                <a:solidFill>
                  <a:schemeClr val="accent1"/>
                </a:solidFill>
                <a:sym typeface="+mn-lt"/>
              </a:rPr>
              <a:t>Pilar I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r>
              <a:rPr lang="nb-NO" sz="1200" dirty="0">
                <a:solidFill>
                  <a:schemeClr val="accent1"/>
                </a:solidFill>
                <a:sym typeface="+mn-lt"/>
              </a:rPr>
              <a:t>Inkl. </a:t>
            </a:r>
            <a:r>
              <a:rPr lang="nb-NO" sz="1200" dirty="0" err="1">
                <a:solidFill>
                  <a:schemeClr val="accent1"/>
                </a:solidFill>
                <a:sym typeface="+mn-lt"/>
              </a:rPr>
              <a:t>motsyklisk</a:t>
            </a:r>
            <a:endParaRPr lang="nb-NO" sz="1200" dirty="0">
              <a:solidFill>
                <a:schemeClr val="accent1"/>
              </a:solidFill>
              <a:sym typeface="+mn-lt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r>
              <a:rPr lang="nb-NO" sz="1200" dirty="0">
                <a:solidFill>
                  <a:schemeClr val="accent1"/>
                </a:solidFill>
                <a:sym typeface="+mn-lt"/>
              </a:rPr>
              <a:t>b</a:t>
            </a:r>
            <a:r>
              <a:rPr lang="nb-NO" sz="1200" dirty="0" smtClean="0">
                <a:solidFill>
                  <a:schemeClr val="accent1"/>
                </a:solidFill>
                <a:sym typeface="+mn-lt"/>
              </a:rPr>
              <a:t>uffer 2,5 %</a:t>
            </a:r>
            <a:endParaRPr lang="nb-NO" sz="1200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6" name="Plassholder for tekst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231521" y="2808924"/>
            <a:ext cx="425451" cy="385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fld id="{1E016006-D05E-4F85-AD3F-3500A1EAEBF4}" type="datetime'''Pi''''''''''''l''''''''''a''''r'''''' ''I''I'''''''''''''">
              <a:rPr lang="nb-NO" altLang="en-US" sz="1200">
                <a:solidFill>
                  <a:schemeClr val="accent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Clr>
                  <a:srgbClr val="032A74"/>
                </a:buClr>
                <a:buNone/>
              </a:pPr>
              <a:t>Pilar II</a:t>
            </a:fld>
            <a:endParaRPr lang="nb-NO" sz="1333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20" name="TekstSylinder 19"/>
          <p:cNvSpPr txBox="1"/>
          <p:nvPr/>
        </p:nvSpPr>
        <p:spPr>
          <a:xfrm>
            <a:off x="6603901" y="2822109"/>
            <a:ext cx="551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/>
              <a:t>1,9 %</a:t>
            </a:r>
            <a:endParaRPr lang="nb-NO" sz="1200" b="1" dirty="0"/>
          </a:p>
        </p:txBody>
      </p:sp>
      <p:sp>
        <p:nvSpPr>
          <p:cNvPr id="21" name="TekstSylinder 20"/>
          <p:cNvSpPr txBox="1"/>
          <p:nvPr/>
        </p:nvSpPr>
        <p:spPr>
          <a:xfrm>
            <a:off x="6585263" y="4412712"/>
            <a:ext cx="620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/>
              <a:t>12,5 %</a:t>
            </a:r>
            <a:endParaRPr lang="nb-NO" sz="1200" b="1" dirty="0"/>
          </a:p>
        </p:txBody>
      </p:sp>
    </p:spTree>
    <p:extLst>
      <p:ext uri="{BB962C8B-B14F-4D97-AF65-F5344CB8AC3E}">
        <p14:creationId xmlns:p14="http://schemas.microsoft.com/office/powerpoint/2010/main" val="367293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e 15"/>
          <p:cNvGrpSpPr/>
          <p:nvPr/>
        </p:nvGrpSpPr>
        <p:grpSpPr>
          <a:xfrm>
            <a:off x="-56705" y="-50553"/>
            <a:ext cx="5379236" cy="6908553"/>
            <a:chOff x="-21197" y="-37915"/>
            <a:chExt cx="4069782" cy="5226822"/>
          </a:xfrm>
        </p:grpSpPr>
        <p:grpSp>
          <p:nvGrpSpPr>
            <p:cNvPr id="8" name="Gruppe 7"/>
            <p:cNvGrpSpPr/>
            <p:nvPr/>
          </p:nvGrpSpPr>
          <p:grpSpPr>
            <a:xfrm>
              <a:off x="-21197" y="0"/>
              <a:ext cx="3524878" cy="5188907"/>
              <a:chOff x="3131129" y="51311"/>
              <a:chExt cx="3524878" cy="5188907"/>
            </a:xfrm>
          </p:grpSpPr>
          <p:pic>
            <p:nvPicPr>
              <p:cNvPr id="1027" name="Picture 3"/>
              <p:cNvPicPr>
                <a:picLocks noChangeAspect="1" noChangeArrowheads="1"/>
              </p:cNvPicPr>
              <p:nvPr/>
            </p:nvPicPr>
            <p:blipFill>
              <a:blip r:embed="rId2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31129" y="51311"/>
                <a:ext cx="3524878" cy="51889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" name="Bilde 6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4869960" y="843558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0" name="Bilde 9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3523444" y="1210921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1" name="Bilde 10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5661248" y="2365055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2" name="Bilde 11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5520893" y="3075806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3" name="Bilde 12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5123718" y="3723878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4" name="Bilde 13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4612859" y="4151066"/>
                <a:ext cx="280709" cy="280709"/>
              </a:xfrm>
              <a:prstGeom prst="rect">
                <a:avLst/>
              </a:prstGeom>
            </p:spPr>
          </p:pic>
          <p:pic>
            <p:nvPicPr>
              <p:cNvPr id="15" name="Bilde 14"/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1058" t="11902" r="22115" b="12980"/>
              <a:stretch/>
            </p:blipFill>
            <p:spPr>
              <a:xfrm>
                <a:off x="4509119" y="908242"/>
                <a:ext cx="216025" cy="216025"/>
              </a:xfrm>
              <a:prstGeom prst="rect">
                <a:avLst/>
              </a:prstGeom>
            </p:spPr>
          </p:pic>
        </p:grpSp>
        <p:sp>
          <p:nvSpPr>
            <p:cNvPr id="9" name="Frihåndsform 8"/>
            <p:cNvSpPr/>
            <p:nvPr/>
          </p:nvSpPr>
          <p:spPr>
            <a:xfrm>
              <a:off x="2787343" y="-37915"/>
              <a:ext cx="1261242" cy="4187508"/>
            </a:xfrm>
            <a:custGeom>
              <a:avLst/>
              <a:gdLst>
                <a:gd name="connsiteX0" fmla="*/ 725214 w 1261242"/>
                <a:gd name="connsiteY0" fmla="*/ 4187399 h 4187508"/>
                <a:gd name="connsiteX1" fmla="*/ 687377 w 1261242"/>
                <a:gd name="connsiteY1" fmla="*/ 4174787 h 4187508"/>
                <a:gd name="connsiteX2" fmla="*/ 599090 w 1261242"/>
                <a:gd name="connsiteY2" fmla="*/ 4086500 h 4187508"/>
                <a:gd name="connsiteX3" fmla="*/ 567559 w 1261242"/>
                <a:gd name="connsiteY3" fmla="*/ 4048663 h 4187508"/>
                <a:gd name="connsiteX4" fmla="*/ 460354 w 1261242"/>
                <a:gd name="connsiteY4" fmla="*/ 3972988 h 4187508"/>
                <a:gd name="connsiteX5" fmla="*/ 441435 w 1261242"/>
                <a:gd name="connsiteY5" fmla="*/ 3947763 h 4187508"/>
                <a:gd name="connsiteX6" fmla="*/ 435129 w 1261242"/>
                <a:gd name="connsiteY6" fmla="*/ 3928845 h 4187508"/>
                <a:gd name="connsiteX7" fmla="*/ 403598 w 1261242"/>
                <a:gd name="connsiteY7" fmla="*/ 3891007 h 4187508"/>
                <a:gd name="connsiteX8" fmla="*/ 384679 w 1261242"/>
                <a:gd name="connsiteY8" fmla="*/ 3840558 h 4187508"/>
                <a:gd name="connsiteX9" fmla="*/ 372067 w 1261242"/>
                <a:gd name="connsiteY9" fmla="*/ 3790108 h 4187508"/>
                <a:gd name="connsiteX10" fmla="*/ 334229 w 1261242"/>
                <a:gd name="connsiteY10" fmla="*/ 3752271 h 4187508"/>
                <a:gd name="connsiteX11" fmla="*/ 327923 w 1261242"/>
                <a:gd name="connsiteY11" fmla="*/ 3733352 h 4187508"/>
                <a:gd name="connsiteX12" fmla="*/ 315311 w 1261242"/>
                <a:gd name="connsiteY12" fmla="*/ 3657678 h 4187508"/>
                <a:gd name="connsiteX13" fmla="*/ 309005 w 1261242"/>
                <a:gd name="connsiteY13" fmla="*/ 3613534 h 4187508"/>
                <a:gd name="connsiteX14" fmla="*/ 302698 w 1261242"/>
                <a:gd name="connsiteY14" fmla="*/ 3594616 h 4187508"/>
                <a:gd name="connsiteX15" fmla="*/ 296392 w 1261242"/>
                <a:gd name="connsiteY15" fmla="*/ 3569391 h 4187508"/>
                <a:gd name="connsiteX16" fmla="*/ 283780 w 1261242"/>
                <a:gd name="connsiteY16" fmla="*/ 3518941 h 4187508"/>
                <a:gd name="connsiteX17" fmla="*/ 290086 w 1261242"/>
                <a:gd name="connsiteY17" fmla="*/ 3373898 h 4187508"/>
                <a:gd name="connsiteX18" fmla="*/ 296392 w 1261242"/>
                <a:gd name="connsiteY18" fmla="*/ 3342367 h 4187508"/>
                <a:gd name="connsiteX19" fmla="*/ 271167 w 1261242"/>
                <a:gd name="connsiteY19" fmla="*/ 3153181 h 4187508"/>
                <a:gd name="connsiteX20" fmla="*/ 252249 w 1261242"/>
                <a:gd name="connsiteY20" fmla="*/ 3127956 h 4187508"/>
                <a:gd name="connsiteX21" fmla="*/ 245943 w 1261242"/>
                <a:gd name="connsiteY21" fmla="*/ 3109038 h 4187508"/>
                <a:gd name="connsiteX22" fmla="*/ 233330 w 1261242"/>
                <a:gd name="connsiteY22" fmla="*/ 3096425 h 4187508"/>
                <a:gd name="connsiteX23" fmla="*/ 220718 w 1261242"/>
                <a:gd name="connsiteY23" fmla="*/ 3033363 h 4187508"/>
                <a:gd name="connsiteX24" fmla="*/ 208105 w 1261242"/>
                <a:gd name="connsiteY24" fmla="*/ 3020751 h 4187508"/>
                <a:gd name="connsiteX25" fmla="*/ 195493 w 1261242"/>
                <a:gd name="connsiteY25" fmla="*/ 2938770 h 4187508"/>
                <a:gd name="connsiteX26" fmla="*/ 189187 w 1261242"/>
                <a:gd name="connsiteY26" fmla="*/ 2919852 h 4187508"/>
                <a:gd name="connsiteX27" fmla="*/ 182880 w 1261242"/>
                <a:gd name="connsiteY27" fmla="*/ 2856789 h 4187508"/>
                <a:gd name="connsiteX28" fmla="*/ 170268 w 1261242"/>
                <a:gd name="connsiteY28" fmla="*/ 2831565 h 4187508"/>
                <a:gd name="connsiteX29" fmla="*/ 163962 w 1261242"/>
                <a:gd name="connsiteY29" fmla="*/ 2800034 h 4187508"/>
                <a:gd name="connsiteX30" fmla="*/ 145043 w 1261242"/>
                <a:gd name="connsiteY30" fmla="*/ 2755890 h 4187508"/>
                <a:gd name="connsiteX31" fmla="*/ 138737 w 1261242"/>
                <a:gd name="connsiteY31" fmla="*/ 2736972 h 4187508"/>
                <a:gd name="connsiteX32" fmla="*/ 119818 w 1261242"/>
                <a:gd name="connsiteY32" fmla="*/ 2724359 h 4187508"/>
                <a:gd name="connsiteX33" fmla="*/ 88287 w 1261242"/>
                <a:gd name="connsiteY33" fmla="*/ 2692828 h 4187508"/>
                <a:gd name="connsiteX34" fmla="*/ 81981 w 1261242"/>
                <a:gd name="connsiteY34" fmla="*/ 2516254 h 4187508"/>
                <a:gd name="connsiteX35" fmla="*/ 88287 w 1261242"/>
                <a:gd name="connsiteY35" fmla="*/ 2169413 h 4187508"/>
                <a:gd name="connsiteX36" fmla="*/ 94594 w 1261242"/>
                <a:gd name="connsiteY36" fmla="*/ 2144188 h 4187508"/>
                <a:gd name="connsiteX37" fmla="*/ 145043 w 1261242"/>
                <a:gd name="connsiteY37" fmla="*/ 2100045 h 4187508"/>
                <a:gd name="connsiteX38" fmla="*/ 163962 w 1261242"/>
                <a:gd name="connsiteY38" fmla="*/ 2081126 h 4187508"/>
                <a:gd name="connsiteX39" fmla="*/ 176574 w 1261242"/>
                <a:gd name="connsiteY39" fmla="*/ 2030676 h 4187508"/>
                <a:gd name="connsiteX40" fmla="*/ 182880 w 1261242"/>
                <a:gd name="connsiteY40" fmla="*/ 2011758 h 4187508"/>
                <a:gd name="connsiteX41" fmla="*/ 195493 w 1261242"/>
                <a:gd name="connsiteY41" fmla="*/ 1999145 h 4187508"/>
                <a:gd name="connsiteX42" fmla="*/ 208105 w 1261242"/>
                <a:gd name="connsiteY42" fmla="*/ 1929777 h 4187508"/>
                <a:gd name="connsiteX43" fmla="*/ 214411 w 1261242"/>
                <a:gd name="connsiteY43" fmla="*/ 1910858 h 4187508"/>
                <a:gd name="connsiteX44" fmla="*/ 220718 w 1261242"/>
                <a:gd name="connsiteY44" fmla="*/ 1873021 h 4187508"/>
                <a:gd name="connsiteX45" fmla="*/ 227024 w 1261242"/>
                <a:gd name="connsiteY45" fmla="*/ 1822572 h 4187508"/>
                <a:gd name="connsiteX46" fmla="*/ 239636 w 1261242"/>
                <a:gd name="connsiteY46" fmla="*/ 1784734 h 4187508"/>
                <a:gd name="connsiteX47" fmla="*/ 252249 w 1261242"/>
                <a:gd name="connsiteY47" fmla="*/ 1734285 h 4187508"/>
                <a:gd name="connsiteX48" fmla="*/ 271167 w 1261242"/>
                <a:gd name="connsiteY48" fmla="*/ 1721672 h 4187508"/>
                <a:gd name="connsiteX49" fmla="*/ 283780 w 1261242"/>
                <a:gd name="connsiteY49" fmla="*/ 1683835 h 4187508"/>
                <a:gd name="connsiteX50" fmla="*/ 271167 w 1261242"/>
                <a:gd name="connsiteY50" fmla="*/ 1519874 h 4187508"/>
                <a:gd name="connsiteX51" fmla="*/ 252249 w 1261242"/>
                <a:gd name="connsiteY51" fmla="*/ 1456812 h 4187508"/>
                <a:gd name="connsiteX52" fmla="*/ 245943 w 1261242"/>
                <a:gd name="connsiteY52" fmla="*/ 1437893 h 4187508"/>
                <a:gd name="connsiteX53" fmla="*/ 239636 w 1261242"/>
                <a:gd name="connsiteY53" fmla="*/ 1387443 h 4187508"/>
                <a:gd name="connsiteX54" fmla="*/ 233330 w 1261242"/>
                <a:gd name="connsiteY54" fmla="*/ 1368525 h 4187508"/>
                <a:gd name="connsiteX55" fmla="*/ 214411 w 1261242"/>
                <a:gd name="connsiteY55" fmla="*/ 1292850 h 4187508"/>
                <a:gd name="connsiteX56" fmla="*/ 195493 w 1261242"/>
                <a:gd name="connsiteY56" fmla="*/ 1286544 h 4187508"/>
                <a:gd name="connsiteX57" fmla="*/ 182880 w 1261242"/>
                <a:gd name="connsiteY57" fmla="*/ 1273932 h 4187508"/>
                <a:gd name="connsiteX58" fmla="*/ 138737 w 1261242"/>
                <a:gd name="connsiteY58" fmla="*/ 1261319 h 4187508"/>
                <a:gd name="connsiteX59" fmla="*/ 119818 w 1261242"/>
                <a:gd name="connsiteY59" fmla="*/ 1248707 h 4187508"/>
                <a:gd name="connsiteX60" fmla="*/ 107206 w 1261242"/>
                <a:gd name="connsiteY60" fmla="*/ 1236094 h 4187508"/>
                <a:gd name="connsiteX61" fmla="*/ 88287 w 1261242"/>
                <a:gd name="connsiteY61" fmla="*/ 1229788 h 4187508"/>
                <a:gd name="connsiteX62" fmla="*/ 75675 w 1261242"/>
                <a:gd name="connsiteY62" fmla="*/ 1210869 h 4187508"/>
                <a:gd name="connsiteX63" fmla="*/ 69369 w 1261242"/>
                <a:gd name="connsiteY63" fmla="*/ 1191951 h 4187508"/>
                <a:gd name="connsiteX64" fmla="*/ 56756 w 1261242"/>
                <a:gd name="connsiteY64" fmla="*/ 1179338 h 4187508"/>
                <a:gd name="connsiteX65" fmla="*/ 50450 w 1261242"/>
                <a:gd name="connsiteY65" fmla="*/ 1160420 h 4187508"/>
                <a:gd name="connsiteX66" fmla="*/ 56756 w 1261242"/>
                <a:gd name="connsiteY66" fmla="*/ 1141501 h 4187508"/>
                <a:gd name="connsiteX67" fmla="*/ 31531 w 1261242"/>
                <a:gd name="connsiteY67" fmla="*/ 1109970 h 4187508"/>
                <a:gd name="connsiteX68" fmla="*/ 25225 w 1261242"/>
                <a:gd name="connsiteY68" fmla="*/ 1021683 h 4187508"/>
                <a:gd name="connsiteX69" fmla="*/ 18919 w 1261242"/>
                <a:gd name="connsiteY69" fmla="*/ 1002765 h 4187508"/>
                <a:gd name="connsiteX70" fmla="*/ 25225 w 1261242"/>
                <a:gd name="connsiteY70" fmla="*/ 920784 h 4187508"/>
                <a:gd name="connsiteX71" fmla="*/ 12613 w 1261242"/>
                <a:gd name="connsiteY71" fmla="*/ 851416 h 4187508"/>
                <a:gd name="connsiteX72" fmla="*/ 0 w 1261242"/>
                <a:gd name="connsiteY72" fmla="*/ 838803 h 4187508"/>
                <a:gd name="connsiteX73" fmla="*/ 12613 w 1261242"/>
                <a:gd name="connsiteY73" fmla="*/ 813578 h 4187508"/>
                <a:gd name="connsiteX74" fmla="*/ 25225 w 1261242"/>
                <a:gd name="connsiteY74" fmla="*/ 794660 h 4187508"/>
                <a:gd name="connsiteX75" fmla="*/ 31531 w 1261242"/>
                <a:gd name="connsiteY75" fmla="*/ 775741 h 4187508"/>
                <a:gd name="connsiteX76" fmla="*/ 37838 w 1261242"/>
                <a:gd name="connsiteY76" fmla="*/ 668536 h 4187508"/>
                <a:gd name="connsiteX77" fmla="*/ 44144 w 1261242"/>
                <a:gd name="connsiteY77" fmla="*/ 649617 h 4187508"/>
                <a:gd name="connsiteX78" fmla="*/ 63063 w 1261242"/>
                <a:gd name="connsiteY78" fmla="*/ 637005 h 4187508"/>
                <a:gd name="connsiteX79" fmla="*/ 81981 w 1261242"/>
                <a:gd name="connsiteY79" fmla="*/ 618086 h 4187508"/>
                <a:gd name="connsiteX80" fmla="*/ 94594 w 1261242"/>
                <a:gd name="connsiteY80" fmla="*/ 592861 h 4187508"/>
                <a:gd name="connsiteX81" fmla="*/ 145043 w 1261242"/>
                <a:gd name="connsiteY81" fmla="*/ 555024 h 4187508"/>
                <a:gd name="connsiteX82" fmla="*/ 151349 w 1261242"/>
                <a:gd name="connsiteY82" fmla="*/ 536105 h 4187508"/>
                <a:gd name="connsiteX83" fmla="*/ 163962 w 1261242"/>
                <a:gd name="connsiteY83" fmla="*/ 447818 h 4187508"/>
                <a:gd name="connsiteX84" fmla="*/ 170268 w 1261242"/>
                <a:gd name="connsiteY84" fmla="*/ 403675 h 4187508"/>
                <a:gd name="connsiteX85" fmla="*/ 182880 w 1261242"/>
                <a:gd name="connsiteY85" fmla="*/ 365838 h 4187508"/>
                <a:gd name="connsiteX86" fmla="*/ 163962 w 1261242"/>
                <a:gd name="connsiteY86" fmla="*/ 359532 h 4187508"/>
                <a:gd name="connsiteX87" fmla="*/ 151349 w 1261242"/>
                <a:gd name="connsiteY87" fmla="*/ 372144 h 4187508"/>
                <a:gd name="connsiteX88" fmla="*/ 163962 w 1261242"/>
                <a:gd name="connsiteY88" fmla="*/ 346919 h 4187508"/>
                <a:gd name="connsiteX89" fmla="*/ 189187 w 1261242"/>
                <a:gd name="connsiteY89" fmla="*/ 296469 h 4187508"/>
                <a:gd name="connsiteX90" fmla="*/ 208105 w 1261242"/>
                <a:gd name="connsiteY90" fmla="*/ 283857 h 4187508"/>
                <a:gd name="connsiteX91" fmla="*/ 220718 w 1261242"/>
                <a:gd name="connsiteY91" fmla="*/ 271245 h 4187508"/>
                <a:gd name="connsiteX92" fmla="*/ 277474 w 1261242"/>
                <a:gd name="connsiteY92" fmla="*/ 252326 h 4187508"/>
                <a:gd name="connsiteX93" fmla="*/ 296392 w 1261242"/>
                <a:gd name="connsiteY93" fmla="*/ 246020 h 4187508"/>
                <a:gd name="connsiteX94" fmla="*/ 315311 w 1261242"/>
                <a:gd name="connsiteY94" fmla="*/ 239714 h 4187508"/>
                <a:gd name="connsiteX95" fmla="*/ 378373 w 1261242"/>
                <a:gd name="connsiteY95" fmla="*/ 258632 h 4187508"/>
                <a:gd name="connsiteX96" fmla="*/ 416210 w 1261242"/>
                <a:gd name="connsiteY96" fmla="*/ 252326 h 4187508"/>
                <a:gd name="connsiteX97" fmla="*/ 435129 w 1261242"/>
                <a:gd name="connsiteY97" fmla="*/ 246020 h 4187508"/>
                <a:gd name="connsiteX98" fmla="*/ 485578 w 1261242"/>
                <a:gd name="connsiteY98" fmla="*/ 239714 h 4187508"/>
                <a:gd name="connsiteX99" fmla="*/ 491885 w 1261242"/>
                <a:gd name="connsiteY99" fmla="*/ 220795 h 4187508"/>
                <a:gd name="connsiteX100" fmla="*/ 498191 w 1261242"/>
                <a:gd name="connsiteY100" fmla="*/ 195570 h 4187508"/>
                <a:gd name="connsiteX101" fmla="*/ 548640 w 1261242"/>
                <a:gd name="connsiteY101" fmla="*/ 151427 h 4187508"/>
                <a:gd name="connsiteX102" fmla="*/ 567559 w 1261242"/>
                <a:gd name="connsiteY102" fmla="*/ 145121 h 4187508"/>
                <a:gd name="connsiteX103" fmla="*/ 586478 w 1261242"/>
                <a:gd name="connsiteY103" fmla="*/ 126202 h 4187508"/>
                <a:gd name="connsiteX104" fmla="*/ 630621 w 1261242"/>
                <a:gd name="connsiteY104" fmla="*/ 100977 h 4187508"/>
                <a:gd name="connsiteX105" fmla="*/ 655846 w 1261242"/>
                <a:gd name="connsiteY105" fmla="*/ 75752 h 4187508"/>
                <a:gd name="connsiteX106" fmla="*/ 693683 w 1261242"/>
                <a:gd name="connsiteY106" fmla="*/ 63140 h 4187508"/>
                <a:gd name="connsiteX107" fmla="*/ 712602 w 1261242"/>
                <a:gd name="connsiteY107" fmla="*/ 56834 h 4187508"/>
                <a:gd name="connsiteX108" fmla="*/ 756745 w 1261242"/>
                <a:gd name="connsiteY108" fmla="*/ 37915 h 4187508"/>
                <a:gd name="connsiteX109" fmla="*/ 800889 w 1261242"/>
                <a:gd name="connsiteY109" fmla="*/ 18996 h 4187508"/>
                <a:gd name="connsiteX110" fmla="*/ 819807 w 1261242"/>
                <a:gd name="connsiteY110" fmla="*/ 6384 h 4187508"/>
                <a:gd name="connsiteX111" fmla="*/ 914400 w 1261242"/>
                <a:gd name="connsiteY111" fmla="*/ 6384 h 4187508"/>
                <a:gd name="connsiteX112" fmla="*/ 964850 w 1261242"/>
                <a:gd name="connsiteY112" fmla="*/ 25303 h 4187508"/>
                <a:gd name="connsiteX113" fmla="*/ 983769 w 1261242"/>
                <a:gd name="connsiteY113" fmla="*/ 37915 h 4187508"/>
                <a:gd name="connsiteX114" fmla="*/ 1002687 w 1261242"/>
                <a:gd name="connsiteY114" fmla="*/ 63140 h 4187508"/>
                <a:gd name="connsiteX115" fmla="*/ 1015300 w 1261242"/>
                <a:gd name="connsiteY115" fmla="*/ 100977 h 4187508"/>
                <a:gd name="connsiteX116" fmla="*/ 1021606 w 1261242"/>
                <a:gd name="connsiteY116" fmla="*/ 164039 h 4187508"/>
                <a:gd name="connsiteX117" fmla="*/ 1027912 w 1261242"/>
                <a:gd name="connsiteY117" fmla="*/ 208183 h 4187508"/>
                <a:gd name="connsiteX118" fmla="*/ 1034218 w 1261242"/>
                <a:gd name="connsiteY118" fmla="*/ 309082 h 4187508"/>
                <a:gd name="connsiteX119" fmla="*/ 1046831 w 1261242"/>
                <a:gd name="connsiteY119" fmla="*/ 353225 h 4187508"/>
                <a:gd name="connsiteX120" fmla="*/ 1065749 w 1261242"/>
                <a:gd name="connsiteY120" fmla="*/ 428900 h 4187508"/>
                <a:gd name="connsiteX121" fmla="*/ 1072056 w 1261242"/>
                <a:gd name="connsiteY121" fmla="*/ 473043 h 4187508"/>
                <a:gd name="connsiteX122" fmla="*/ 1059443 w 1261242"/>
                <a:gd name="connsiteY122" fmla="*/ 763129 h 4187508"/>
                <a:gd name="connsiteX123" fmla="*/ 1046831 w 1261242"/>
                <a:gd name="connsiteY123" fmla="*/ 1040602 h 4187508"/>
                <a:gd name="connsiteX124" fmla="*/ 1040525 w 1261242"/>
                <a:gd name="connsiteY124" fmla="*/ 1210869 h 4187508"/>
                <a:gd name="connsiteX125" fmla="*/ 1027912 w 1261242"/>
                <a:gd name="connsiteY125" fmla="*/ 1292850 h 4187508"/>
                <a:gd name="connsiteX126" fmla="*/ 1021606 w 1261242"/>
                <a:gd name="connsiteY126" fmla="*/ 1374831 h 4187508"/>
                <a:gd name="connsiteX127" fmla="*/ 1015300 w 1261242"/>
                <a:gd name="connsiteY127" fmla="*/ 1437893 h 4187508"/>
                <a:gd name="connsiteX128" fmla="*/ 1008994 w 1261242"/>
                <a:gd name="connsiteY128" fmla="*/ 1513567 h 4187508"/>
                <a:gd name="connsiteX129" fmla="*/ 990075 w 1261242"/>
                <a:gd name="connsiteY129" fmla="*/ 1721672 h 4187508"/>
                <a:gd name="connsiteX130" fmla="*/ 1002687 w 1261242"/>
                <a:gd name="connsiteY130" fmla="*/ 2068514 h 4187508"/>
                <a:gd name="connsiteX131" fmla="*/ 1015300 w 1261242"/>
                <a:gd name="connsiteY131" fmla="*/ 2137882 h 4187508"/>
                <a:gd name="connsiteX132" fmla="*/ 1021606 w 1261242"/>
                <a:gd name="connsiteY132" fmla="*/ 2175719 h 4187508"/>
                <a:gd name="connsiteX133" fmla="*/ 1034218 w 1261242"/>
                <a:gd name="connsiteY133" fmla="*/ 2219863 h 4187508"/>
                <a:gd name="connsiteX134" fmla="*/ 1046831 w 1261242"/>
                <a:gd name="connsiteY134" fmla="*/ 2301843 h 4187508"/>
                <a:gd name="connsiteX135" fmla="*/ 1065749 w 1261242"/>
                <a:gd name="connsiteY135" fmla="*/ 2358599 h 4187508"/>
                <a:gd name="connsiteX136" fmla="*/ 1078362 w 1261242"/>
                <a:gd name="connsiteY136" fmla="*/ 2409049 h 4187508"/>
                <a:gd name="connsiteX137" fmla="*/ 1084668 w 1261242"/>
                <a:gd name="connsiteY137" fmla="*/ 2465805 h 4187508"/>
                <a:gd name="connsiteX138" fmla="*/ 1090974 w 1261242"/>
                <a:gd name="connsiteY138" fmla="*/ 2497336 h 4187508"/>
                <a:gd name="connsiteX139" fmla="*/ 1097280 w 1261242"/>
                <a:gd name="connsiteY139" fmla="*/ 2554092 h 4187508"/>
                <a:gd name="connsiteX140" fmla="*/ 1103587 w 1261242"/>
                <a:gd name="connsiteY140" fmla="*/ 2598235 h 4187508"/>
                <a:gd name="connsiteX141" fmla="*/ 1109893 w 1261242"/>
                <a:gd name="connsiteY141" fmla="*/ 2686522 h 4187508"/>
                <a:gd name="connsiteX142" fmla="*/ 1122505 w 1261242"/>
                <a:gd name="connsiteY142" fmla="*/ 2781115 h 4187508"/>
                <a:gd name="connsiteX143" fmla="*/ 1128811 w 1261242"/>
                <a:gd name="connsiteY143" fmla="*/ 2831565 h 4187508"/>
                <a:gd name="connsiteX144" fmla="*/ 1141424 w 1261242"/>
                <a:gd name="connsiteY144" fmla="*/ 2888321 h 4187508"/>
                <a:gd name="connsiteX145" fmla="*/ 1147730 w 1261242"/>
                <a:gd name="connsiteY145" fmla="*/ 2932464 h 4187508"/>
                <a:gd name="connsiteX146" fmla="*/ 1172955 w 1261242"/>
                <a:gd name="connsiteY146" fmla="*/ 3008138 h 4187508"/>
                <a:gd name="connsiteX147" fmla="*/ 1198180 w 1261242"/>
                <a:gd name="connsiteY147" fmla="*/ 3090119 h 4187508"/>
                <a:gd name="connsiteX148" fmla="*/ 1210792 w 1261242"/>
                <a:gd name="connsiteY148" fmla="*/ 3209937 h 4187508"/>
                <a:gd name="connsiteX149" fmla="*/ 1223405 w 1261242"/>
                <a:gd name="connsiteY149" fmla="*/ 3266693 h 4187508"/>
                <a:gd name="connsiteX150" fmla="*/ 1229711 w 1261242"/>
                <a:gd name="connsiteY150" fmla="*/ 3310836 h 4187508"/>
                <a:gd name="connsiteX151" fmla="*/ 1242323 w 1261242"/>
                <a:gd name="connsiteY151" fmla="*/ 3354980 h 4187508"/>
                <a:gd name="connsiteX152" fmla="*/ 1248629 w 1261242"/>
                <a:gd name="connsiteY152" fmla="*/ 3392817 h 4187508"/>
                <a:gd name="connsiteX153" fmla="*/ 1261242 w 1261242"/>
                <a:gd name="connsiteY153" fmla="*/ 3512635 h 4187508"/>
                <a:gd name="connsiteX154" fmla="*/ 1254936 w 1261242"/>
                <a:gd name="connsiteY154" fmla="*/ 3613534 h 4187508"/>
                <a:gd name="connsiteX155" fmla="*/ 1242323 w 1261242"/>
                <a:gd name="connsiteY155" fmla="*/ 3657678 h 4187508"/>
                <a:gd name="connsiteX156" fmla="*/ 1236017 w 1261242"/>
                <a:gd name="connsiteY156" fmla="*/ 3727046 h 4187508"/>
                <a:gd name="connsiteX157" fmla="*/ 1229711 w 1261242"/>
                <a:gd name="connsiteY157" fmla="*/ 3752271 h 4187508"/>
                <a:gd name="connsiteX158" fmla="*/ 1210792 w 1261242"/>
                <a:gd name="connsiteY158" fmla="*/ 3809027 h 4187508"/>
                <a:gd name="connsiteX159" fmla="*/ 1204486 w 1261242"/>
                <a:gd name="connsiteY159" fmla="*/ 3840558 h 4187508"/>
                <a:gd name="connsiteX160" fmla="*/ 1191874 w 1261242"/>
                <a:gd name="connsiteY160" fmla="*/ 3859476 h 4187508"/>
                <a:gd name="connsiteX161" fmla="*/ 1179261 w 1261242"/>
                <a:gd name="connsiteY161" fmla="*/ 3891007 h 4187508"/>
                <a:gd name="connsiteX162" fmla="*/ 1154036 w 1261242"/>
                <a:gd name="connsiteY162" fmla="*/ 3928845 h 4187508"/>
                <a:gd name="connsiteX163" fmla="*/ 1103587 w 1261242"/>
                <a:gd name="connsiteY163" fmla="*/ 3960376 h 4187508"/>
                <a:gd name="connsiteX164" fmla="*/ 1065749 w 1261242"/>
                <a:gd name="connsiteY164" fmla="*/ 4010825 h 4187508"/>
                <a:gd name="connsiteX165" fmla="*/ 1053137 w 1261242"/>
                <a:gd name="connsiteY165" fmla="*/ 4023438 h 4187508"/>
                <a:gd name="connsiteX166" fmla="*/ 1027912 w 1261242"/>
                <a:gd name="connsiteY166" fmla="*/ 4054969 h 4187508"/>
                <a:gd name="connsiteX167" fmla="*/ 1008994 w 1261242"/>
                <a:gd name="connsiteY167" fmla="*/ 4061275 h 4187508"/>
                <a:gd name="connsiteX168" fmla="*/ 971156 w 1261242"/>
                <a:gd name="connsiteY168" fmla="*/ 4099112 h 4187508"/>
                <a:gd name="connsiteX169" fmla="*/ 958544 w 1261242"/>
                <a:gd name="connsiteY169" fmla="*/ 4118031 h 4187508"/>
                <a:gd name="connsiteX170" fmla="*/ 845032 w 1261242"/>
                <a:gd name="connsiteY170" fmla="*/ 4136949 h 4187508"/>
                <a:gd name="connsiteX171" fmla="*/ 807195 w 1261242"/>
                <a:gd name="connsiteY171" fmla="*/ 4155868 h 4187508"/>
                <a:gd name="connsiteX172" fmla="*/ 794583 w 1261242"/>
                <a:gd name="connsiteY172" fmla="*/ 4168481 h 4187508"/>
                <a:gd name="connsiteX173" fmla="*/ 750439 w 1261242"/>
                <a:gd name="connsiteY173" fmla="*/ 4181093 h 4187508"/>
                <a:gd name="connsiteX174" fmla="*/ 731520 w 1261242"/>
                <a:gd name="connsiteY174" fmla="*/ 4174787 h 4187508"/>
                <a:gd name="connsiteX175" fmla="*/ 712602 w 1261242"/>
                <a:gd name="connsiteY175" fmla="*/ 4181093 h 4187508"/>
                <a:gd name="connsiteX176" fmla="*/ 725214 w 1261242"/>
                <a:gd name="connsiteY176" fmla="*/ 4187399 h 4187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1261242" h="4187508">
                  <a:moveTo>
                    <a:pt x="725214" y="4187399"/>
                  </a:moveTo>
                  <a:cubicBezTo>
                    <a:pt x="721010" y="4186348"/>
                    <a:pt x="697758" y="4183092"/>
                    <a:pt x="687377" y="4174787"/>
                  </a:cubicBezTo>
                  <a:cubicBezTo>
                    <a:pt x="654878" y="4148788"/>
                    <a:pt x="625734" y="4118472"/>
                    <a:pt x="599090" y="4086500"/>
                  </a:cubicBezTo>
                  <a:cubicBezTo>
                    <a:pt x="588580" y="4073888"/>
                    <a:pt x="580232" y="4059100"/>
                    <a:pt x="567559" y="4048663"/>
                  </a:cubicBezTo>
                  <a:cubicBezTo>
                    <a:pt x="544382" y="4029576"/>
                    <a:pt x="487278" y="3999912"/>
                    <a:pt x="460354" y="3972988"/>
                  </a:cubicBezTo>
                  <a:cubicBezTo>
                    <a:pt x="452922" y="3965556"/>
                    <a:pt x="447741" y="3956171"/>
                    <a:pt x="441435" y="3947763"/>
                  </a:cubicBezTo>
                  <a:cubicBezTo>
                    <a:pt x="439333" y="3941457"/>
                    <a:pt x="438102" y="3934790"/>
                    <a:pt x="435129" y="3928845"/>
                  </a:cubicBezTo>
                  <a:cubicBezTo>
                    <a:pt x="426350" y="3911287"/>
                    <a:pt x="417543" y="3904953"/>
                    <a:pt x="403598" y="3891007"/>
                  </a:cubicBezTo>
                  <a:cubicBezTo>
                    <a:pt x="399739" y="3881361"/>
                    <a:pt x="387975" y="3853741"/>
                    <a:pt x="384679" y="3840558"/>
                  </a:cubicBezTo>
                  <a:cubicBezTo>
                    <a:pt x="384140" y="3838401"/>
                    <a:pt x="377377" y="3796936"/>
                    <a:pt x="372067" y="3790108"/>
                  </a:cubicBezTo>
                  <a:cubicBezTo>
                    <a:pt x="361116" y="3776029"/>
                    <a:pt x="334229" y="3752271"/>
                    <a:pt x="334229" y="3752271"/>
                  </a:cubicBezTo>
                  <a:cubicBezTo>
                    <a:pt x="332127" y="3745965"/>
                    <a:pt x="329016" y="3739909"/>
                    <a:pt x="327923" y="3733352"/>
                  </a:cubicBezTo>
                  <a:cubicBezTo>
                    <a:pt x="313843" y="3648871"/>
                    <a:pt x="330095" y="3702029"/>
                    <a:pt x="315311" y="3657678"/>
                  </a:cubicBezTo>
                  <a:cubicBezTo>
                    <a:pt x="313209" y="3642963"/>
                    <a:pt x="311920" y="3628109"/>
                    <a:pt x="309005" y="3613534"/>
                  </a:cubicBezTo>
                  <a:cubicBezTo>
                    <a:pt x="307701" y="3607016"/>
                    <a:pt x="304524" y="3601007"/>
                    <a:pt x="302698" y="3594616"/>
                  </a:cubicBezTo>
                  <a:cubicBezTo>
                    <a:pt x="300317" y="3586282"/>
                    <a:pt x="298272" y="3577852"/>
                    <a:pt x="296392" y="3569391"/>
                  </a:cubicBezTo>
                  <a:cubicBezTo>
                    <a:pt x="286246" y="3523732"/>
                    <a:pt x="295048" y="3552748"/>
                    <a:pt x="283780" y="3518941"/>
                  </a:cubicBezTo>
                  <a:cubicBezTo>
                    <a:pt x="285882" y="3470593"/>
                    <a:pt x="286638" y="3422168"/>
                    <a:pt x="290086" y="3373898"/>
                  </a:cubicBezTo>
                  <a:cubicBezTo>
                    <a:pt x="290850" y="3363207"/>
                    <a:pt x="296392" y="3353085"/>
                    <a:pt x="296392" y="3342367"/>
                  </a:cubicBezTo>
                  <a:cubicBezTo>
                    <a:pt x="296392" y="3277776"/>
                    <a:pt x="306401" y="3209556"/>
                    <a:pt x="271167" y="3153181"/>
                  </a:cubicBezTo>
                  <a:cubicBezTo>
                    <a:pt x="265597" y="3144268"/>
                    <a:pt x="258555" y="3136364"/>
                    <a:pt x="252249" y="3127956"/>
                  </a:cubicBezTo>
                  <a:cubicBezTo>
                    <a:pt x="250147" y="3121650"/>
                    <a:pt x="249363" y="3114738"/>
                    <a:pt x="245943" y="3109038"/>
                  </a:cubicBezTo>
                  <a:cubicBezTo>
                    <a:pt x="242884" y="3103940"/>
                    <a:pt x="235418" y="3101992"/>
                    <a:pt x="233330" y="3096425"/>
                  </a:cubicBezTo>
                  <a:cubicBezTo>
                    <a:pt x="228581" y="3083761"/>
                    <a:pt x="228104" y="3048135"/>
                    <a:pt x="220718" y="3033363"/>
                  </a:cubicBezTo>
                  <a:cubicBezTo>
                    <a:pt x="218059" y="3028045"/>
                    <a:pt x="212309" y="3024955"/>
                    <a:pt x="208105" y="3020751"/>
                  </a:cubicBezTo>
                  <a:cubicBezTo>
                    <a:pt x="204276" y="2990119"/>
                    <a:pt x="202715" y="2967659"/>
                    <a:pt x="195493" y="2938770"/>
                  </a:cubicBezTo>
                  <a:cubicBezTo>
                    <a:pt x="193881" y="2932321"/>
                    <a:pt x="191289" y="2926158"/>
                    <a:pt x="189187" y="2919852"/>
                  </a:cubicBezTo>
                  <a:cubicBezTo>
                    <a:pt x="187085" y="2898831"/>
                    <a:pt x="187307" y="2877446"/>
                    <a:pt x="182880" y="2856789"/>
                  </a:cubicBezTo>
                  <a:cubicBezTo>
                    <a:pt x="180910" y="2847597"/>
                    <a:pt x="173241" y="2840483"/>
                    <a:pt x="170268" y="2831565"/>
                  </a:cubicBezTo>
                  <a:cubicBezTo>
                    <a:pt x="166879" y="2821397"/>
                    <a:pt x="166562" y="2810432"/>
                    <a:pt x="163962" y="2800034"/>
                  </a:cubicBezTo>
                  <a:cubicBezTo>
                    <a:pt x="158046" y="2776368"/>
                    <a:pt x="155874" y="2781161"/>
                    <a:pt x="145043" y="2755890"/>
                  </a:cubicBezTo>
                  <a:cubicBezTo>
                    <a:pt x="142425" y="2749780"/>
                    <a:pt x="142889" y="2742163"/>
                    <a:pt x="138737" y="2736972"/>
                  </a:cubicBezTo>
                  <a:cubicBezTo>
                    <a:pt x="134002" y="2731054"/>
                    <a:pt x="125522" y="2729350"/>
                    <a:pt x="119818" y="2724359"/>
                  </a:cubicBezTo>
                  <a:cubicBezTo>
                    <a:pt x="108632" y="2714571"/>
                    <a:pt x="88287" y="2692828"/>
                    <a:pt x="88287" y="2692828"/>
                  </a:cubicBezTo>
                  <a:cubicBezTo>
                    <a:pt x="86185" y="2633970"/>
                    <a:pt x="81981" y="2575150"/>
                    <a:pt x="81981" y="2516254"/>
                  </a:cubicBezTo>
                  <a:cubicBezTo>
                    <a:pt x="81981" y="2400621"/>
                    <a:pt x="84369" y="2284979"/>
                    <a:pt x="88287" y="2169413"/>
                  </a:cubicBezTo>
                  <a:cubicBezTo>
                    <a:pt x="88581" y="2160751"/>
                    <a:pt x="91180" y="2152154"/>
                    <a:pt x="94594" y="2144188"/>
                  </a:cubicBezTo>
                  <a:cubicBezTo>
                    <a:pt x="105105" y="2119662"/>
                    <a:pt x="121917" y="2115462"/>
                    <a:pt x="145043" y="2100045"/>
                  </a:cubicBezTo>
                  <a:cubicBezTo>
                    <a:pt x="152464" y="2095098"/>
                    <a:pt x="157656" y="2087432"/>
                    <a:pt x="163962" y="2081126"/>
                  </a:cubicBezTo>
                  <a:cubicBezTo>
                    <a:pt x="168166" y="2064309"/>
                    <a:pt x="171092" y="2047121"/>
                    <a:pt x="176574" y="2030676"/>
                  </a:cubicBezTo>
                  <a:cubicBezTo>
                    <a:pt x="178676" y="2024370"/>
                    <a:pt x="179460" y="2017458"/>
                    <a:pt x="182880" y="2011758"/>
                  </a:cubicBezTo>
                  <a:cubicBezTo>
                    <a:pt x="185939" y="2006660"/>
                    <a:pt x="191289" y="2003349"/>
                    <a:pt x="195493" y="1999145"/>
                  </a:cubicBezTo>
                  <a:cubicBezTo>
                    <a:pt x="209955" y="1955760"/>
                    <a:pt x="193845" y="2008213"/>
                    <a:pt x="208105" y="1929777"/>
                  </a:cubicBezTo>
                  <a:cubicBezTo>
                    <a:pt x="209294" y="1923237"/>
                    <a:pt x="212969" y="1917347"/>
                    <a:pt x="214411" y="1910858"/>
                  </a:cubicBezTo>
                  <a:cubicBezTo>
                    <a:pt x="217185" y="1898376"/>
                    <a:pt x="218910" y="1885679"/>
                    <a:pt x="220718" y="1873021"/>
                  </a:cubicBezTo>
                  <a:cubicBezTo>
                    <a:pt x="223115" y="1856244"/>
                    <a:pt x="223473" y="1839143"/>
                    <a:pt x="227024" y="1822572"/>
                  </a:cubicBezTo>
                  <a:cubicBezTo>
                    <a:pt x="229810" y="1809572"/>
                    <a:pt x="235432" y="1797347"/>
                    <a:pt x="239636" y="1784734"/>
                  </a:cubicBezTo>
                  <a:cubicBezTo>
                    <a:pt x="240308" y="1782718"/>
                    <a:pt x="246857" y="1741026"/>
                    <a:pt x="252249" y="1734285"/>
                  </a:cubicBezTo>
                  <a:cubicBezTo>
                    <a:pt x="256984" y="1728367"/>
                    <a:pt x="264861" y="1725876"/>
                    <a:pt x="271167" y="1721672"/>
                  </a:cubicBezTo>
                  <a:cubicBezTo>
                    <a:pt x="275371" y="1709060"/>
                    <a:pt x="284609" y="1697104"/>
                    <a:pt x="283780" y="1683835"/>
                  </a:cubicBezTo>
                  <a:cubicBezTo>
                    <a:pt x="281291" y="1644008"/>
                    <a:pt x="277609" y="1564964"/>
                    <a:pt x="271167" y="1519874"/>
                  </a:cubicBezTo>
                  <a:cubicBezTo>
                    <a:pt x="268784" y="1503194"/>
                    <a:pt x="256638" y="1469981"/>
                    <a:pt x="252249" y="1456812"/>
                  </a:cubicBezTo>
                  <a:lnTo>
                    <a:pt x="245943" y="1437893"/>
                  </a:lnTo>
                  <a:cubicBezTo>
                    <a:pt x="243841" y="1421076"/>
                    <a:pt x="242668" y="1404117"/>
                    <a:pt x="239636" y="1387443"/>
                  </a:cubicBezTo>
                  <a:cubicBezTo>
                    <a:pt x="238447" y="1380903"/>
                    <a:pt x="234772" y="1375014"/>
                    <a:pt x="233330" y="1368525"/>
                  </a:cubicBezTo>
                  <a:cubicBezTo>
                    <a:pt x="216348" y="1292103"/>
                    <a:pt x="239896" y="1369300"/>
                    <a:pt x="214411" y="1292850"/>
                  </a:cubicBezTo>
                  <a:cubicBezTo>
                    <a:pt x="212309" y="1286544"/>
                    <a:pt x="201799" y="1288646"/>
                    <a:pt x="195493" y="1286544"/>
                  </a:cubicBezTo>
                  <a:cubicBezTo>
                    <a:pt x="191289" y="1282340"/>
                    <a:pt x="187978" y="1276991"/>
                    <a:pt x="182880" y="1273932"/>
                  </a:cubicBezTo>
                  <a:cubicBezTo>
                    <a:pt x="176414" y="1270052"/>
                    <a:pt x="143455" y="1262498"/>
                    <a:pt x="138737" y="1261319"/>
                  </a:cubicBezTo>
                  <a:cubicBezTo>
                    <a:pt x="132431" y="1257115"/>
                    <a:pt x="125736" y="1253442"/>
                    <a:pt x="119818" y="1248707"/>
                  </a:cubicBezTo>
                  <a:cubicBezTo>
                    <a:pt x="115175" y="1244993"/>
                    <a:pt x="112304" y="1239153"/>
                    <a:pt x="107206" y="1236094"/>
                  </a:cubicBezTo>
                  <a:cubicBezTo>
                    <a:pt x="101506" y="1232674"/>
                    <a:pt x="94593" y="1231890"/>
                    <a:pt x="88287" y="1229788"/>
                  </a:cubicBezTo>
                  <a:cubicBezTo>
                    <a:pt x="84083" y="1223482"/>
                    <a:pt x="79064" y="1217648"/>
                    <a:pt x="75675" y="1210869"/>
                  </a:cubicBezTo>
                  <a:cubicBezTo>
                    <a:pt x="72702" y="1204924"/>
                    <a:pt x="72789" y="1197651"/>
                    <a:pt x="69369" y="1191951"/>
                  </a:cubicBezTo>
                  <a:cubicBezTo>
                    <a:pt x="66310" y="1186853"/>
                    <a:pt x="60960" y="1183542"/>
                    <a:pt x="56756" y="1179338"/>
                  </a:cubicBezTo>
                  <a:cubicBezTo>
                    <a:pt x="54654" y="1173032"/>
                    <a:pt x="50450" y="1167067"/>
                    <a:pt x="50450" y="1160420"/>
                  </a:cubicBezTo>
                  <a:cubicBezTo>
                    <a:pt x="50450" y="1153773"/>
                    <a:pt x="57849" y="1148058"/>
                    <a:pt x="56756" y="1141501"/>
                  </a:cubicBezTo>
                  <a:cubicBezTo>
                    <a:pt x="55165" y="1131955"/>
                    <a:pt x="38269" y="1116708"/>
                    <a:pt x="31531" y="1109970"/>
                  </a:cubicBezTo>
                  <a:cubicBezTo>
                    <a:pt x="29429" y="1080541"/>
                    <a:pt x="28672" y="1050985"/>
                    <a:pt x="25225" y="1021683"/>
                  </a:cubicBezTo>
                  <a:cubicBezTo>
                    <a:pt x="24448" y="1015081"/>
                    <a:pt x="18919" y="1009412"/>
                    <a:pt x="18919" y="1002765"/>
                  </a:cubicBezTo>
                  <a:cubicBezTo>
                    <a:pt x="18919" y="975357"/>
                    <a:pt x="23123" y="948111"/>
                    <a:pt x="25225" y="920784"/>
                  </a:cubicBezTo>
                  <a:cubicBezTo>
                    <a:pt x="24356" y="913830"/>
                    <a:pt x="21823" y="866765"/>
                    <a:pt x="12613" y="851416"/>
                  </a:cubicBezTo>
                  <a:cubicBezTo>
                    <a:pt x="9554" y="846318"/>
                    <a:pt x="4204" y="843007"/>
                    <a:pt x="0" y="838803"/>
                  </a:cubicBezTo>
                  <a:cubicBezTo>
                    <a:pt x="4204" y="830395"/>
                    <a:pt x="7949" y="821740"/>
                    <a:pt x="12613" y="813578"/>
                  </a:cubicBezTo>
                  <a:cubicBezTo>
                    <a:pt x="16373" y="806998"/>
                    <a:pt x="21836" y="801439"/>
                    <a:pt x="25225" y="794660"/>
                  </a:cubicBezTo>
                  <a:cubicBezTo>
                    <a:pt x="28198" y="788714"/>
                    <a:pt x="29429" y="782047"/>
                    <a:pt x="31531" y="775741"/>
                  </a:cubicBezTo>
                  <a:cubicBezTo>
                    <a:pt x="33633" y="740006"/>
                    <a:pt x="34276" y="704155"/>
                    <a:pt x="37838" y="668536"/>
                  </a:cubicBezTo>
                  <a:cubicBezTo>
                    <a:pt x="38499" y="661922"/>
                    <a:pt x="39991" y="654808"/>
                    <a:pt x="44144" y="649617"/>
                  </a:cubicBezTo>
                  <a:cubicBezTo>
                    <a:pt x="48879" y="643699"/>
                    <a:pt x="57241" y="641857"/>
                    <a:pt x="63063" y="637005"/>
                  </a:cubicBezTo>
                  <a:cubicBezTo>
                    <a:pt x="69914" y="631296"/>
                    <a:pt x="76797" y="625343"/>
                    <a:pt x="81981" y="618086"/>
                  </a:cubicBezTo>
                  <a:cubicBezTo>
                    <a:pt x="87445" y="610436"/>
                    <a:pt x="88403" y="599936"/>
                    <a:pt x="94594" y="592861"/>
                  </a:cubicBezTo>
                  <a:cubicBezTo>
                    <a:pt x="105080" y="580877"/>
                    <a:pt x="130108" y="564981"/>
                    <a:pt x="145043" y="555024"/>
                  </a:cubicBezTo>
                  <a:cubicBezTo>
                    <a:pt x="147145" y="548718"/>
                    <a:pt x="149737" y="542554"/>
                    <a:pt x="151349" y="536105"/>
                  </a:cubicBezTo>
                  <a:cubicBezTo>
                    <a:pt x="159935" y="501762"/>
                    <a:pt x="159055" y="487074"/>
                    <a:pt x="163962" y="447818"/>
                  </a:cubicBezTo>
                  <a:cubicBezTo>
                    <a:pt x="165806" y="433069"/>
                    <a:pt x="166926" y="418158"/>
                    <a:pt x="170268" y="403675"/>
                  </a:cubicBezTo>
                  <a:cubicBezTo>
                    <a:pt x="173257" y="390721"/>
                    <a:pt x="182880" y="365838"/>
                    <a:pt x="182880" y="365838"/>
                  </a:cubicBezTo>
                  <a:cubicBezTo>
                    <a:pt x="176574" y="363736"/>
                    <a:pt x="170480" y="358228"/>
                    <a:pt x="163962" y="359532"/>
                  </a:cubicBezTo>
                  <a:cubicBezTo>
                    <a:pt x="158132" y="360698"/>
                    <a:pt x="151349" y="378090"/>
                    <a:pt x="151349" y="372144"/>
                  </a:cubicBezTo>
                  <a:cubicBezTo>
                    <a:pt x="151349" y="362743"/>
                    <a:pt x="160471" y="355647"/>
                    <a:pt x="163962" y="346919"/>
                  </a:cubicBezTo>
                  <a:cubicBezTo>
                    <a:pt x="176927" y="314507"/>
                    <a:pt x="167856" y="313534"/>
                    <a:pt x="189187" y="296469"/>
                  </a:cubicBezTo>
                  <a:cubicBezTo>
                    <a:pt x="195105" y="291734"/>
                    <a:pt x="202187" y="288591"/>
                    <a:pt x="208105" y="283857"/>
                  </a:cubicBezTo>
                  <a:cubicBezTo>
                    <a:pt x="212748" y="280143"/>
                    <a:pt x="215400" y="273904"/>
                    <a:pt x="220718" y="271245"/>
                  </a:cubicBezTo>
                  <a:cubicBezTo>
                    <a:pt x="220728" y="271240"/>
                    <a:pt x="268009" y="255481"/>
                    <a:pt x="277474" y="252326"/>
                  </a:cubicBezTo>
                  <a:lnTo>
                    <a:pt x="296392" y="246020"/>
                  </a:lnTo>
                  <a:lnTo>
                    <a:pt x="315311" y="239714"/>
                  </a:lnTo>
                  <a:cubicBezTo>
                    <a:pt x="361370" y="255067"/>
                    <a:pt x="340250" y="249102"/>
                    <a:pt x="378373" y="258632"/>
                  </a:cubicBezTo>
                  <a:cubicBezTo>
                    <a:pt x="390985" y="256530"/>
                    <a:pt x="403728" y="255100"/>
                    <a:pt x="416210" y="252326"/>
                  </a:cubicBezTo>
                  <a:cubicBezTo>
                    <a:pt x="422699" y="250884"/>
                    <a:pt x="428589" y="247209"/>
                    <a:pt x="435129" y="246020"/>
                  </a:cubicBezTo>
                  <a:cubicBezTo>
                    <a:pt x="451803" y="242988"/>
                    <a:pt x="468762" y="241816"/>
                    <a:pt x="485578" y="239714"/>
                  </a:cubicBezTo>
                  <a:cubicBezTo>
                    <a:pt x="487680" y="233408"/>
                    <a:pt x="490059" y="227187"/>
                    <a:pt x="491885" y="220795"/>
                  </a:cubicBezTo>
                  <a:cubicBezTo>
                    <a:pt x="494266" y="212461"/>
                    <a:pt x="494777" y="203536"/>
                    <a:pt x="498191" y="195570"/>
                  </a:cubicBezTo>
                  <a:cubicBezTo>
                    <a:pt x="508701" y="171047"/>
                    <a:pt x="525519" y="166841"/>
                    <a:pt x="548640" y="151427"/>
                  </a:cubicBezTo>
                  <a:cubicBezTo>
                    <a:pt x="554171" y="147740"/>
                    <a:pt x="561253" y="147223"/>
                    <a:pt x="567559" y="145121"/>
                  </a:cubicBezTo>
                  <a:cubicBezTo>
                    <a:pt x="573865" y="138815"/>
                    <a:pt x="579221" y="131386"/>
                    <a:pt x="586478" y="126202"/>
                  </a:cubicBezTo>
                  <a:cubicBezTo>
                    <a:pt x="622261" y="100643"/>
                    <a:pt x="600835" y="126508"/>
                    <a:pt x="630621" y="100977"/>
                  </a:cubicBezTo>
                  <a:cubicBezTo>
                    <a:pt x="639649" y="93238"/>
                    <a:pt x="647438" y="84160"/>
                    <a:pt x="655846" y="75752"/>
                  </a:cubicBezTo>
                  <a:cubicBezTo>
                    <a:pt x="665247" y="66351"/>
                    <a:pt x="681071" y="67344"/>
                    <a:pt x="693683" y="63140"/>
                  </a:cubicBezTo>
                  <a:lnTo>
                    <a:pt x="712602" y="56834"/>
                  </a:lnTo>
                  <a:cubicBezTo>
                    <a:pt x="760090" y="25173"/>
                    <a:pt x="699743" y="62343"/>
                    <a:pt x="756745" y="37915"/>
                  </a:cubicBezTo>
                  <a:cubicBezTo>
                    <a:pt x="817724" y="11782"/>
                    <a:pt x="728460" y="37105"/>
                    <a:pt x="800889" y="18996"/>
                  </a:cubicBezTo>
                  <a:cubicBezTo>
                    <a:pt x="807195" y="14792"/>
                    <a:pt x="812711" y="9045"/>
                    <a:pt x="819807" y="6384"/>
                  </a:cubicBezTo>
                  <a:cubicBezTo>
                    <a:pt x="852804" y="-5990"/>
                    <a:pt x="878611" y="2805"/>
                    <a:pt x="914400" y="6384"/>
                  </a:cubicBezTo>
                  <a:cubicBezTo>
                    <a:pt x="958768" y="35961"/>
                    <a:pt x="902509" y="1925"/>
                    <a:pt x="964850" y="25303"/>
                  </a:cubicBezTo>
                  <a:cubicBezTo>
                    <a:pt x="971947" y="27964"/>
                    <a:pt x="977463" y="33711"/>
                    <a:pt x="983769" y="37915"/>
                  </a:cubicBezTo>
                  <a:cubicBezTo>
                    <a:pt x="990075" y="46323"/>
                    <a:pt x="997987" y="53739"/>
                    <a:pt x="1002687" y="63140"/>
                  </a:cubicBezTo>
                  <a:cubicBezTo>
                    <a:pt x="1008633" y="75031"/>
                    <a:pt x="1015300" y="100977"/>
                    <a:pt x="1015300" y="100977"/>
                  </a:cubicBezTo>
                  <a:cubicBezTo>
                    <a:pt x="1017402" y="121998"/>
                    <a:pt x="1019138" y="143058"/>
                    <a:pt x="1021606" y="164039"/>
                  </a:cubicBezTo>
                  <a:cubicBezTo>
                    <a:pt x="1023343" y="178801"/>
                    <a:pt x="1026624" y="193375"/>
                    <a:pt x="1027912" y="208183"/>
                  </a:cubicBezTo>
                  <a:cubicBezTo>
                    <a:pt x="1030831" y="241755"/>
                    <a:pt x="1029859" y="275666"/>
                    <a:pt x="1034218" y="309082"/>
                  </a:cubicBezTo>
                  <a:cubicBezTo>
                    <a:pt x="1036197" y="324257"/>
                    <a:pt x="1043390" y="338314"/>
                    <a:pt x="1046831" y="353225"/>
                  </a:cubicBezTo>
                  <a:cubicBezTo>
                    <a:pt x="1065941" y="436032"/>
                    <a:pt x="1038054" y="345812"/>
                    <a:pt x="1065749" y="428900"/>
                  </a:cubicBezTo>
                  <a:cubicBezTo>
                    <a:pt x="1067851" y="443614"/>
                    <a:pt x="1072056" y="458179"/>
                    <a:pt x="1072056" y="473043"/>
                  </a:cubicBezTo>
                  <a:cubicBezTo>
                    <a:pt x="1072056" y="793949"/>
                    <a:pt x="1070214" y="596177"/>
                    <a:pt x="1059443" y="763129"/>
                  </a:cubicBezTo>
                  <a:cubicBezTo>
                    <a:pt x="1055596" y="822766"/>
                    <a:pt x="1048916" y="987443"/>
                    <a:pt x="1046831" y="1040602"/>
                  </a:cubicBezTo>
                  <a:cubicBezTo>
                    <a:pt x="1044606" y="1097353"/>
                    <a:pt x="1044773" y="1154233"/>
                    <a:pt x="1040525" y="1210869"/>
                  </a:cubicBezTo>
                  <a:cubicBezTo>
                    <a:pt x="1038457" y="1238440"/>
                    <a:pt x="1032116" y="1265523"/>
                    <a:pt x="1027912" y="1292850"/>
                  </a:cubicBezTo>
                  <a:cubicBezTo>
                    <a:pt x="1025810" y="1320177"/>
                    <a:pt x="1023980" y="1347526"/>
                    <a:pt x="1021606" y="1374831"/>
                  </a:cubicBezTo>
                  <a:cubicBezTo>
                    <a:pt x="1019776" y="1395877"/>
                    <a:pt x="1017213" y="1416854"/>
                    <a:pt x="1015300" y="1437893"/>
                  </a:cubicBezTo>
                  <a:cubicBezTo>
                    <a:pt x="1013008" y="1463101"/>
                    <a:pt x="1011286" y="1488359"/>
                    <a:pt x="1008994" y="1513567"/>
                  </a:cubicBezTo>
                  <a:cubicBezTo>
                    <a:pt x="986475" y="1761269"/>
                    <a:pt x="1004348" y="1550392"/>
                    <a:pt x="990075" y="1721672"/>
                  </a:cubicBezTo>
                  <a:cubicBezTo>
                    <a:pt x="994279" y="1837286"/>
                    <a:pt x="997004" y="1952963"/>
                    <a:pt x="1002687" y="2068514"/>
                  </a:cubicBezTo>
                  <a:cubicBezTo>
                    <a:pt x="1003313" y="2081241"/>
                    <a:pt x="1012726" y="2123725"/>
                    <a:pt x="1015300" y="2137882"/>
                  </a:cubicBezTo>
                  <a:cubicBezTo>
                    <a:pt x="1017587" y="2150462"/>
                    <a:pt x="1019098" y="2163181"/>
                    <a:pt x="1021606" y="2175719"/>
                  </a:cubicBezTo>
                  <a:cubicBezTo>
                    <a:pt x="1025565" y="2195515"/>
                    <a:pt x="1028208" y="2201832"/>
                    <a:pt x="1034218" y="2219863"/>
                  </a:cubicBezTo>
                  <a:cubicBezTo>
                    <a:pt x="1038422" y="2247190"/>
                    <a:pt x="1040704" y="2274882"/>
                    <a:pt x="1046831" y="2301843"/>
                  </a:cubicBezTo>
                  <a:cubicBezTo>
                    <a:pt x="1051251" y="2321289"/>
                    <a:pt x="1060122" y="2339467"/>
                    <a:pt x="1065749" y="2358599"/>
                  </a:cubicBezTo>
                  <a:cubicBezTo>
                    <a:pt x="1070640" y="2375229"/>
                    <a:pt x="1074158" y="2392232"/>
                    <a:pt x="1078362" y="2409049"/>
                  </a:cubicBezTo>
                  <a:cubicBezTo>
                    <a:pt x="1080464" y="2427968"/>
                    <a:pt x="1081976" y="2446961"/>
                    <a:pt x="1084668" y="2465805"/>
                  </a:cubicBezTo>
                  <a:cubicBezTo>
                    <a:pt x="1086184" y="2476416"/>
                    <a:pt x="1089458" y="2486725"/>
                    <a:pt x="1090974" y="2497336"/>
                  </a:cubicBezTo>
                  <a:cubicBezTo>
                    <a:pt x="1093666" y="2516180"/>
                    <a:pt x="1094919" y="2535204"/>
                    <a:pt x="1097280" y="2554092"/>
                  </a:cubicBezTo>
                  <a:cubicBezTo>
                    <a:pt x="1099124" y="2568841"/>
                    <a:pt x="1101485" y="2583521"/>
                    <a:pt x="1103587" y="2598235"/>
                  </a:cubicBezTo>
                  <a:cubicBezTo>
                    <a:pt x="1105689" y="2627664"/>
                    <a:pt x="1107222" y="2657139"/>
                    <a:pt x="1109893" y="2686522"/>
                  </a:cubicBezTo>
                  <a:cubicBezTo>
                    <a:pt x="1112475" y="2714926"/>
                    <a:pt x="1118685" y="2752466"/>
                    <a:pt x="1122505" y="2781115"/>
                  </a:cubicBezTo>
                  <a:cubicBezTo>
                    <a:pt x="1124745" y="2797914"/>
                    <a:pt x="1125866" y="2814875"/>
                    <a:pt x="1128811" y="2831565"/>
                  </a:cubicBezTo>
                  <a:cubicBezTo>
                    <a:pt x="1132179" y="2850650"/>
                    <a:pt x="1137852" y="2869273"/>
                    <a:pt x="1141424" y="2888321"/>
                  </a:cubicBezTo>
                  <a:cubicBezTo>
                    <a:pt x="1144163" y="2902930"/>
                    <a:pt x="1144616" y="2917930"/>
                    <a:pt x="1147730" y="2932464"/>
                  </a:cubicBezTo>
                  <a:cubicBezTo>
                    <a:pt x="1157108" y="2976225"/>
                    <a:pt x="1159353" y="2970732"/>
                    <a:pt x="1172955" y="3008138"/>
                  </a:cubicBezTo>
                  <a:cubicBezTo>
                    <a:pt x="1184586" y="3040124"/>
                    <a:pt x="1188614" y="3056640"/>
                    <a:pt x="1198180" y="3090119"/>
                  </a:cubicBezTo>
                  <a:lnTo>
                    <a:pt x="1210792" y="3209937"/>
                  </a:lnTo>
                  <a:cubicBezTo>
                    <a:pt x="1212821" y="3229211"/>
                    <a:pt x="1219833" y="3247645"/>
                    <a:pt x="1223405" y="3266693"/>
                  </a:cubicBezTo>
                  <a:cubicBezTo>
                    <a:pt x="1226144" y="3281302"/>
                    <a:pt x="1227052" y="3296212"/>
                    <a:pt x="1229711" y="3310836"/>
                  </a:cubicBezTo>
                  <a:cubicBezTo>
                    <a:pt x="1243445" y="3386374"/>
                    <a:pt x="1228816" y="3294196"/>
                    <a:pt x="1242323" y="3354980"/>
                  </a:cubicBezTo>
                  <a:cubicBezTo>
                    <a:pt x="1245097" y="3367462"/>
                    <a:pt x="1246685" y="3380179"/>
                    <a:pt x="1248629" y="3392817"/>
                  </a:cubicBezTo>
                  <a:cubicBezTo>
                    <a:pt x="1257618" y="3451245"/>
                    <a:pt x="1255231" y="3440495"/>
                    <a:pt x="1261242" y="3512635"/>
                  </a:cubicBezTo>
                  <a:cubicBezTo>
                    <a:pt x="1259140" y="3546268"/>
                    <a:pt x="1259295" y="3580118"/>
                    <a:pt x="1254936" y="3613534"/>
                  </a:cubicBezTo>
                  <a:cubicBezTo>
                    <a:pt x="1252957" y="3628709"/>
                    <a:pt x="1244839" y="3642583"/>
                    <a:pt x="1242323" y="3657678"/>
                  </a:cubicBezTo>
                  <a:cubicBezTo>
                    <a:pt x="1238506" y="3680580"/>
                    <a:pt x="1239085" y="3704032"/>
                    <a:pt x="1236017" y="3727046"/>
                  </a:cubicBezTo>
                  <a:cubicBezTo>
                    <a:pt x="1234872" y="3735637"/>
                    <a:pt x="1231591" y="3743810"/>
                    <a:pt x="1229711" y="3752271"/>
                  </a:cubicBezTo>
                  <a:cubicBezTo>
                    <a:pt x="1219932" y="3796280"/>
                    <a:pt x="1229628" y="3771356"/>
                    <a:pt x="1210792" y="3809027"/>
                  </a:cubicBezTo>
                  <a:cubicBezTo>
                    <a:pt x="1208690" y="3819537"/>
                    <a:pt x="1208249" y="3830522"/>
                    <a:pt x="1204486" y="3840558"/>
                  </a:cubicBezTo>
                  <a:cubicBezTo>
                    <a:pt x="1201825" y="3847654"/>
                    <a:pt x="1195263" y="3852697"/>
                    <a:pt x="1191874" y="3859476"/>
                  </a:cubicBezTo>
                  <a:cubicBezTo>
                    <a:pt x="1186811" y="3869601"/>
                    <a:pt x="1183859" y="3880663"/>
                    <a:pt x="1179261" y="3891007"/>
                  </a:cubicBezTo>
                  <a:cubicBezTo>
                    <a:pt x="1172811" y="3905518"/>
                    <a:pt x="1167717" y="3919725"/>
                    <a:pt x="1154036" y="3928845"/>
                  </a:cubicBezTo>
                  <a:cubicBezTo>
                    <a:pt x="1129744" y="3945039"/>
                    <a:pt x="1124778" y="3937066"/>
                    <a:pt x="1103587" y="3960376"/>
                  </a:cubicBezTo>
                  <a:cubicBezTo>
                    <a:pt x="1089447" y="3975930"/>
                    <a:pt x="1078362" y="3994009"/>
                    <a:pt x="1065749" y="4010825"/>
                  </a:cubicBezTo>
                  <a:cubicBezTo>
                    <a:pt x="1062182" y="4015581"/>
                    <a:pt x="1056851" y="4018795"/>
                    <a:pt x="1053137" y="4023438"/>
                  </a:cubicBezTo>
                  <a:cubicBezTo>
                    <a:pt x="1045205" y="4033353"/>
                    <a:pt x="1039625" y="4047941"/>
                    <a:pt x="1027912" y="4054969"/>
                  </a:cubicBezTo>
                  <a:cubicBezTo>
                    <a:pt x="1022212" y="4058389"/>
                    <a:pt x="1015300" y="4059173"/>
                    <a:pt x="1008994" y="4061275"/>
                  </a:cubicBezTo>
                  <a:cubicBezTo>
                    <a:pt x="996381" y="4073887"/>
                    <a:pt x="981050" y="4084271"/>
                    <a:pt x="971156" y="4099112"/>
                  </a:cubicBezTo>
                  <a:cubicBezTo>
                    <a:pt x="966952" y="4105418"/>
                    <a:pt x="965323" y="4114642"/>
                    <a:pt x="958544" y="4118031"/>
                  </a:cubicBezTo>
                  <a:cubicBezTo>
                    <a:pt x="931941" y="4131332"/>
                    <a:pt x="871302" y="4134322"/>
                    <a:pt x="845032" y="4136949"/>
                  </a:cubicBezTo>
                  <a:cubicBezTo>
                    <a:pt x="825053" y="4143610"/>
                    <a:pt x="824656" y="4141899"/>
                    <a:pt x="807195" y="4155868"/>
                  </a:cubicBezTo>
                  <a:cubicBezTo>
                    <a:pt x="802552" y="4159582"/>
                    <a:pt x="799681" y="4165422"/>
                    <a:pt x="794583" y="4168481"/>
                  </a:cubicBezTo>
                  <a:cubicBezTo>
                    <a:pt x="788122" y="4172358"/>
                    <a:pt x="755150" y="4179915"/>
                    <a:pt x="750439" y="4181093"/>
                  </a:cubicBezTo>
                  <a:cubicBezTo>
                    <a:pt x="744133" y="4178991"/>
                    <a:pt x="738167" y="4174787"/>
                    <a:pt x="731520" y="4174787"/>
                  </a:cubicBezTo>
                  <a:cubicBezTo>
                    <a:pt x="724873" y="4174787"/>
                    <a:pt x="719051" y="4179481"/>
                    <a:pt x="712602" y="4181093"/>
                  </a:cubicBezTo>
                  <a:cubicBezTo>
                    <a:pt x="710563" y="4181603"/>
                    <a:pt x="729418" y="4188450"/>
                    <a:pt x="725214" y="41873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400">
                <a:solidFill>
                  <a:prstClr val="white"/>
                </a:solidFill>
              </a:endParaRPr>
            </a:p>
          </p:txBody>
        </p:sp>
      </p:grpSp>
      <p:sp>
        <p:nvSpPr>
          <p:cNvPr id="21" name="TekstSylinder 20"/>
          <p:cNvSpPr txBox="1"/>
          <p:nvPr/>
        </p:nvSpPr>
        <p:spPr>
          <a:xfrm>
            <a:off x="4735318" y="1000670"/>
            <a:ext cx="7498693" cy="4555083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3200" b="1" dirty="0" err="1" smtClean="0">
                <a:solidFill>
                  <a:schemeClr val="accent1"/>
                </a:solidFill>
              </a:rPr>
              <a:t>SpareBank</a:t>
            </a:r>
            <a:r>
              <a:rPr lang="nb-NO" sz="3200" b="1" dirty="0" smtClean="0">
                <a:solidFill>
                  <a:schemeClr val="accent1"/>
                </a:solidFill>
              </a:rPr>
              <a:t> 1 </a:t>
            </a:r>
            <a:r>
              <a:rPr lang="nb-NO" sz="3200" b="1" dirty="0">
                <a:solidFill>
                  <a:schemeClr val="accent1"/>
                </a:solidFill>
              </a:rPr>
              <a:t>BV – sammen skaper vi verdi</a:t>
            </a:r>
          </a:p>
          <a:p>
            <a:r>
              <a:rPr lang="nb-NO" sz="2000" i="1" dirty="0" smtClean="0">
                <a:solidFill>
                  <a:schemeClr val="accent1"/>
                </a:solidFill>
              </a:rPr>
              <a:t>Lærende - engasjert - nær</a:t>
            </a:r>
          </a:p>
          <a:p>
            <a:endParaRPr lang="nb-NO" sz="2000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800" b="1" dirty="0" smtClean="0">
                <a:solidFill>
                  <a:schemeClr val="accent1"/>
                </a:solidFill>
              </a:rPr>
              <a:t>10</a:t>
            </a:r>
            <a:endParaRPr lang="nb-NO" sz="2200" dirty="0" smtClean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200" dirty="0" smtClean="0">
                <a:solidFill>
                  <a:schemeClr val="accent1"/>
                </a:solidFill>
              </a:rPr>
              <a:t>Kontorer i Vestfold og Buskerud</a:t>
            </a:r>
            <a:endParaRPr lang="nb-NO" sz="2200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endParaRPr lang="nb-NO" sz="2200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800" b="1" dirty="0" smtClean="0">
                <a:solidFill>
                  <a:schemeClr val="accent1"/>
                </a:solidFill>
              </a:rPr>
              <a:t>336</a:t>
            </a:r>
            <a:r>
              <a:rPr lang="nb-NO" sz="2800" dirty="0" smtClean="0">
                <a:solidFill>
                  <a:schemeClr val="accent1"/>
                </a:solidFill>
              </a:rPr>
              <a:t> </a:t>
            </a:r>
          </a:p>
          <a:p>
            <a:pPr>
              <a:buClr>
                <a:schemeClr val="accent4"/>
              </a:buClr>
            </a:pPr>
            <a:r>
              <a:rPr lang="nb-NO" sz="2200" dirty="0" smtClean="0">
                <a:solidFill>
                  <a:schemeClr val="accent1"/>
                </a:solidFill>
              </a:rPr>
              <a:t>årsverk</a:t>
            </a:r>
          </a:p>
          <a:p>
            <a:pPr>
              <a:buClr>
                <a:schemeClr val="accent4"/>
              </a:buClr>
            </a:pPr>
            <a:endParaRPr lang="nb-NO" sz="2200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800" b="1" dirty="0" smtClean="0">
                <a:solidFill>
                  <a:schemeClr val="accent1"/>
                </a:solidFill>
              </a:rPr>
              <a:t>51</a:t>
            </a:r>
            <a:endParaRPr lang="nb-NO" sz="2800" b="1" dirty="0">
              <a:solidFill>
                <a:schemeClr val="accent1"/>
              </a:solidFill>
            </a:endParaRPr>
          </a:p>
          <a:p>
            <a:pPr>
              <a:buClr>
                <a:schemeClr val="accent4"/>
              </a:buClr>
            </a:pPr>
            <a:r>
              <a:rPr lang="nb-NO" sz="2200" dirty="0" smtClean="0">
                <a:solidFill>
                  <a:schemeClr val="accent1"/>
                </a:solidFill>
              </a:rPr>
              <a:t>Forretningskapital </a:t>
            </a:r>
            <a:r>
              <a:rPr lang="nb-NO" sz="2200" dirty="0">
                <a:solidFill>
                  <a:schemeClr val="accent1"/>
                </a:solidFill>
              </a:rPr>
              <a:t>på ca. </a:t>
            </a:r>
            <a:r>
              <a:rPr lang="nb-NO" sz="2200" dirty="0" smtClean="0">
                <a:solidFill>
                  <a:schemeClr val="accent1"/>
                </a:solidFill>
              </a:rPr>
              <a:t>51 </a:t>
            </a:r>
            <a:r>
              <a:rPr lang="nb-NO" sz="2200" dirty="0">
                <a:solidFill>
                  <a:schemeClr val="accent1"/>
                </a:solidFill>
              </a:rPr>
              <a:t>milliarder</a:t>
            </a:r>
          </a:p>
          <a:p>
            <a:pPr>
              <a:buClr>
                <a:schemeClr val="accent4"/>
              </a:buClr>
            </a:pPr>
            <a:endParaRPr lang="nb-NO" sz="2200" dirty="0">
              <a:solidFill>
                <a:schemeClr val="accent1"/>
              </a:solidFill>
            </a:endParaRPr>
          </a:p>
        </p:txBody>
      </p:sp>
      <p:sp>
        <p:nvSpPr>
          <p:cNvPr id="27" name="TekstSylinder 26"/>
          <p:cNvSpPr txBox="1"/>
          <p:nvPr/>
        </p:nvSpPr>
        <p:spPr>
          <a:xfrm>
            <a:off x="762743" y="1669208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Kongsberg</a:t>
            </a:r>
          </a:p>
        </p:txBody>
      </p:sp>
      <p:sp>
        <p:nvSpPr>
          <p:cNvPr id="30" name="TekstSylinder 29"/>
          <p:cNvSpPr txBox="1"/>
          <p:nvPr/>
        </p:nvSpPr>
        <p:spPr>
          <a:xfrm>
            <a:off x="2571720" y="1171736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Drammen</a:t>
            </a:r>
          </a:p>
        </p:txBody>
      </p:sp>
      <p:sp>
        <p:nvSpPr>
          <p:cNvPr id="31" name="TekstSylinder 30"/>
          <p:cNvSpPr txBox="1"/>
          <p:nvPr/>
        </p:nvSpPr>
        <p:spPr>
          <a:xfrm>
            <a:off x="3441116" y="4147071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Tønsberg</a:t>
            </a:r>
          </a:p>
        </p:txBody>
      </p:sp>
      <p:sp>
        <p:nvSpPr>
          <p:cNvPr id="32" name="TekstSylinder 31"/>
          <p:cNvSpPr txBox="1"/>
          <p:nvPr/>
        </p:nvSpPr>
        <p:spPr>
          <a:xfrm>
            <a:off x="2264884" y="5511259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Larvik</a:t>
            </a:r>
          </a:p>
        </p:txBody>
      </p:sp>
      <p:sp>
        <p:nvSpPr>
          <p:cNvPr id="33" name="TekstSylinder 32"/>
          <p:cNvSpPr txBox="1"/>
          <p:nvPr/>
        </p:nvSpPr>
        <p:spPr>
          <a:xfrm>
            <a:off x="3614436" y="3217471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Horten</a:t>
            </a:r>
          </a:p>
        </p:txBody>
      </p:sp>
      <p:sp>
        <p:nvSpPr>
          <p:cNvPr id="34" name="TekstSylinder 33"/>
          <p:cNvSpPr txBox="1"/>
          <p:nvPr/>
        </p:nvSpPr>
        <p:spPr>
          <a:xfrm>
            <a:off x="2864180" y="4997761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Sandefjord</a:t>
            </a:r>
          </a:p>
        </p:txBody>
      </p:sp>
      <p:pic>
        <p:nvPicPr>
          <p:cNvPr id="28" name="Bilde 2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058" t="11902" r="22115" b="12980"/>
          <a:stretch/>
        </p:blipFill>
        <p:spPr>
          <a:xfrm>
            <a:off x="3221801" y="4352473"/>
            <a:ext cx="371027" cy="371027"/>
          </a:xfrm>
          <a:prstGeom prst="rect">
            <a:avLst/>
          </a:prstGeom>
        </p:spPr>
      </p:pic>
      <p:sp>
        <p:nvSpPr>
          <p:cNvPr id="35" name="TekstSylinder 34"/>
          <p:cNvSpPr txBox="1"/>
          <p:nvPr/>
        </p:nvSpPr>
        <p:spPr>
          <a:xfrm>
            <a:off x="3494043" y="4462879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Nøtterøy</a:t>
            </a:r>
          </a:p>
        </p:txBody>
      </p:sp>
      <p:pic>
        <p:nvPicPr>
          <p:cNvPr id="36" name="Bilde 3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058" t="11902" r="22115" b="12980"/>
          <a:stretch/>
        </p:blipFill>
        <p:spPr>
          <a:xfrm>
            <a:off x="2571721" y="709773"/>
            <a:ext cx="285531" cy="285531"/>
          </a:xfrm>
          <a:prstGeom prst="rect">
            <a:avLst/>
          </a:prstGeom>
        </p:spPr>
      </p:pic>
      <p:pic>
        <p:nvPicPr>
          <p:cNvPr id="37" name="Bilde 3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058" t="11902" r="22115" b="12980"/>
          <a:stretch/>
        </p:blipFill>
        <p:spPr>
          <a:xfrm>
            <a:off x="2608845" y="2566885"/>
            <a:ext cx="285531" cy="285531"/>
          </a:xfrm>
          <a:prstGeom prst="rect">
            <a:avLst/>
          </a:prstGeom>
        </p:spPr>
      </p:pic>
      <p:sp>
        <p:nvSpPr>
          <p:cNvPr id="38" name="TekstSylinder 37"/>
          <p:cNvSpPr txBox="1"/>
          <p:nvPr/>
        </p:nvSpPr>
        <p:spPr>
          <a:xfrm>
            <a:off x="2769040" y="787065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Lier</a:t>
            </a:r>
          </a:p>
        </p:txBody>
      </p:sp>
      <p:sp>
        <p:nvSpPr>
          <p:cNvPr id="39" name="TekstSylinder 38"/>
          <p:cNvSpPr txBox="1"/>
          <p:nvPr/>
        </p:nvSpPr>
        <p:spPr>
          <a:xfrm>
            <a:off x="2810328" y="2609403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Holmestrand</a:t>
            </a:r>
          </a:p>
        </p:txBody>
      </p:sp>
      <p:sp>
        <p:nvSpPr>
          <p:cNvPr id="40" name="TekstSylinder 39"/>
          <p:cNvSpPr txBox="1"/>
          <p:nvPr/>
        </p:nvSpPr>
        <p:spPr>
          <a:xfrm>
            <a:off x="1929360" y="1292405"/>
            <a:ext cx="1344149" cy="323155"/>
          </a:xfrm>
          <a:prstGeom prst="rect">
            <a:avLst/>
          </a:prstGeom>
          <a:noFill/>
        </p:spPr>
        <p:txBody>
          <a:bodyPr wrap="square" lIns="121909" tIns="60955" rIns="121909" bIns="60955" rtlCol="0">
            <a:spAutoFit/>
          </a:bodyPr>
          <a:lstStyle/>
          <a:p>
            <a:r>
              <a:rPr lang="nb-NO" sz="1300" b="1" dirty="0">
                <a:solidFill>
                  <a:srgbClr val="44546A"/>
                </a:solidFill>
              </a:rPr>
              <a:t>Eiker</a:t>
            </a:r>
          </a:p>
        </p:txBody>
      </p:sp>
      <p:sp>
        <p:nvSpPr>
          <p:cNvPr id="2" name="Avrundet rektangel 1"/>
          <p:cNvSpPr/>
          <p:nvPr/>
        </p:nvSpPr>
        <p:spPr>
          <a:xfrm>
            <a:off x="10704512" y="5925279"/>
            <a:ext cx="889848" cy="316807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96036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ssholder for innhold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83368" y="-1655023"/>
            <a:ext cx="14325599" cy="10744200"/>
          </a:xfr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57714" y="1460155"/>
            <a:ext cx="10629499" cy="681405"/>
          </a:xfrm>
        </p:spPr>
        <p:txBody>
          <a:bodyPr/>
          <a:lstStyle/>
          <a:p>
            <a:r>
              <a:rPr lang="nb-NO" sz="5400" b="1" dirty="0">
                <a:solidFill>
                  <a:schemeClr val="bg1"/>
                </a:solidFill>
              </a:rPr>
              <a:t>Balanseutvikling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0</a:t>
            </a:fld>
            <a:endParaRPr lang="nb-NO">
              <a:solidFill>
                <a:srgbClr val="032A74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83369" y="-1655022"/>
            <a:ext cx="16116301" cy="10744200"/>
          </a:xfrm>
          <a:prstGeom prst="rect">
            <a:avLst/>
          </a:prstGeom>
        </p:spPr>
      </p:pic>
      <p:sp>
        <p:nvSpPr>
          <p:cNvPr id="12" name="Tittel 1"/>
          <p:cNvSpPr txBox="1">
            <a:spLocks/>
          </p:cNvSpPr>
          <p:nvPr/>
        </p:nvSpPr>
        <p:spPr>
          <a:xfrm>
            <a:off x="1110114" y="1612555"/>
            <a:ext cx="10629499" cy="6814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45697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533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5400" b="1" dirty="0" smtClean="0">
                <a:solidFill>
                  <a:schemeClr val="accent1">
                    <a:lumMod val="75000"/>
                  </a:schemeClr>
                </a:solidFill>
              </a:rPr>
              <a:t>Balanseutvikling</a:t>
            </a:r>
            <a:endParaRPr lang="nb-NO" sz="5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6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1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28535" y="390938"/>
            <a:ext cx="7042941" cy="1099725"/>
          </a:xfrm>
        </p:spPr>
        <p:txBody>
          <a:bodyPr/>
          <a:lstStyle/>
          <a:p>
            <a:r>
              <a:rPr lang="nb-NO" sz="4400" b="1" dirty="0">
                <a:solidFill>
                  <a:schemeClr val="accent1"/>
                </a:solidFill>
              </a:rPr>
              <a:t>Balanse</a:t>
            </a: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sp>
        <p:nvSpPr>
          <p:cNvPr id="12" name="Rektangel 11"/>
          <p:cNvSpPr/>
          <p:nvPr/>
        </p:nvSpPr>
        <p:spPr>
          <a:xfrm>
            <a:off x="8304246" y="2468894"/>
            <a:ext cx="3553321" cy="3580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>
                <a:solidFill>
                  <a:srgbClr val="FFFFFF"/>
                </a:solidFill>
              </a:rPr>
              <a:t>Nøkkeltall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>
                <a:solidFill>
                  <a:srgbClr val="FFFFFF"/>
                </a:solidFill>
              </a:rPr>
              <a:t>Forretningskapital   		</a:t>
            </a:r>
            <a:r>
              <a:rPr lang="nb-NO" sz="1867" dirty="0" smtClean="0">
                <a:solidFill>
                  <a:schemeClr val="bg1"/>
                </a:solidFill>
              </a:rPr>
              <a:t>51 </a:t>
            </a:r>
            <a:r>
              <a:rPr lang="nb-NO" sz="1867" dirty="0" err="1">
                <a:solidFill>
                  <a:schemeClr val="bg1"/>
                </a:solidFill>
              </a:rPr>
              <a:t>Mrd</a:t>
            </a:r>
            <a:endParaRPr lang="nb-NO" sz="1867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>
                <a:solidFill>
                  <a:schemeClr val="bg1"/>
                </a:solidFill>
              </a:rPr>
              <a:t>Netto utlån </a:t>
            </a:r>
            <a:r>
              <a:rPr lang="nb-NO" sz="1867" dirty="0" err="1" smtClean="0">
                <a:solidFill>
                  <a:schemeClr val="bg1"/>
                </a:solidFill>
              </a:rPr>
              <a:t>inkl</a:t>
            </a:r>
            <a:r>
              <a:rPr lang="nb-NO" sz="1867" dirty="0" smtClean="0">
                <a:solidFill>
                  <a:schemeClr val="bg1"/>
                </a:solidFill>
              </a:rPr>
              <a:t> BK/NK    43 </a:t>
            </a:r>
            <a:r>
              <a:rPr lang="nb-NO" sz="1867" dirty="0" err="1">
                <a:solidFill>
                  <a:schemeClr val="bg1"/>
                </a:solidFill>
              </a:rPr>
              <a:t>Mrd</a:t>
            </a:r>
            <a:endParaRPr lang="nb-NO" sz="1867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 smtClean="0">
                <a:solidFill>
                  <a:schemeClr val="bg1"/>
                </a:solidFill>
              </a:rPr>
              <a:t>Innskudd</a:t>
            </a:r>
            <a:r>
              <a:rPr lang="nb-NO" sz="1867" dirty="0">
                <a:solidFill>
                  <a:schemeClr val="bg1"/>
                </a:solidFill>
              </a:rPr>
              <a:t>					</a:t>
            </a:r>
            <a:r>
              <a:rPr lang="nb-NO" sz="1867" dirty="0" smtClean="0">
                <a:solidFill>
                  <a:schemeClr val="bg1"/>
                </a:solidFill>
              </a:rPr>
              <a:t>24 </a:t>
            </a:r>
            <a:r>
              <a:rPr lang="nb-NO" sz="1867" dirty="0" err="1" smtClean="0">
                <a:solidFill>
                  <a:schemeClr val="bg1"/>
                </a:solidFill>
              </a:rPr>
              <a:t>Mrd</a:t>
            </a:r>
            <a:endParaRPr lang="nb-NO" sz="1867" dirty="0" smtClean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 smtClean="0">
                <a:solidFill>
                  <a:schemeClr val="bg1"/>
                </a:solidFill>
              </a:rPr>
              <a:t>Markedsfinansiering		  8 </a:t>
            </a:r>
            <a:r>
              <a:rPr lang="nb-NO" sz="1867" dirty="0" err="1" smtClean="0">
                <a:solidFill>
                  <a:schemeClr val="bg1"/>
                </a:solidFill>
              </a:rPr>
              <a:t>Mrd</a:t>
            </a:r>
            <a:endParaRPr lang="nb-NO" sz="1867" dirty="0" smtClean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dirty="0" smtClean="0">
                <a:solidFill>
                  <a:schemeClr val="bg1"/>
                </a:solidFill>
              </a:rPr>
              <a:t>Finansiering BK/NK		13 </a:t>
            </a:r>
            <a:r>
              <a:rPr lang="nb-NO" sz="1867" dirty="0" err="1" smtClean="0">
                <a:solidFill>
                  <a:schemeClr val="bg1"/>
                </a:solidFill>
              </a:rPr>
              <a:t>Mrd</a:t>
            </a:r>
            <a:endParaRPr lang="nb-NO" sz="1867" dirty="0" smtClean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dirty="0">
              <a:solidFill>
                <a:schemeClr val="bg1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7910754"/>
              </p:ext>
            </p:extLst>
          </p:nvPr>
        </p:nvGraphicFramePr>
        <p:xfrm>
          <a:off x="763937" y="940800"/>
          <a:ext cx="6480241" cy="5822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9472"/>
                <a:gridCol w="970343"/>
                <a:gridCol w="835213"/>
                <a:gridCol w="835213"/>
              </a:tblGrid>
              <a:tr h="408606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onsern (</a:t>
                      </a:r>
                      <a:r>
                        <a:rPr lang="nb-NO" sz="1200" b="0" i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ill</a:t>
                      </a:r>
                      <a:r>
                        <a:rPr lang="nb-NO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r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0.09.19</a:t>
                      </a:r>
                      <a:endParaRPr lang="nb-NO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0.09.18</a:t>
                      </a:r>
                      <a:endParaRPr lang="nb-NO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1.12.18</a:t>
                      </a:r>
                      <a:endParaRPr lang="nb-NO" sz="1200" dirty="0"/>
                    </a:p>
                  </a:txBody>
                  <a:tcPr/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tanter og fordringer på sentralbank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10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9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9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tlån til og fordringer på kredittinstitusjon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11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13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025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tto utlån til kund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0.663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.584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.374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tifikater, obligasjoner og andre verdipapir med virkelig verdi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820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167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033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ksjer, andeler og andre egenkapitalinteress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392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213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321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ierinteresser i </a:t>
                      </a:r>
                      <a:r>
                        <a:rPr lang="nb-NO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lleskontrollert</a:t>
                      </a:r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virksomhet og tilknyttet selskap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11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13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30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arige driftsmidl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7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re eiendeler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9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2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4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m eiendeler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.724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6.484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6.581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nskudd fra kredittinstitusjoner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2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nb-N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marL="0" algn="l" defTabSz="456979" rtl="0" eaLnBrk="1" fontAlgn="ctr" latinLnBrk="0" hangingPunct="1"/>
                      <a:r>
                        <a:rPr lang="nb-NO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nskudd fra kund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.481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.793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2.139</a:t>
                      </a:r>
                      <a:endParaRPr lang="nb-NO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jeld stiftet ved utstedelse av verdipapire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8.090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8.992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8.757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en gjeld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560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89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392</a:t>
                      </a:r>
                      <a:endParaRPr lang="nb-N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svarlig lånekapital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444</a:t>
                      </a:r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445</a:t>
                      </a:r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445</a:t>
                      </a:r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 gjeld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3.575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1.730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1.732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 egenkapital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5.149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4.754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4.848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jeld og egenkapital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8.724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6.484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36.581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ligkreditt/Næringskreditt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12.559</a:t>
                      </a:r>
                      <a:endParaRPr lang="nb-NO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11.840</a:t>
                      </a:r>
                      <a:endParaRPr lang="nb-NO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dirty="0" smtClean="0"/>
                        <a:t>12.322</a:t>
                      </a:r>
                      <a:endParaRPr lang="nb-NO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retningskapital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51.283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48.324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 dirty="0" smtClean="0"/>
                        <a:t>48.903</a:t>
                      </a:r>
                      <a:endParaRPr lang="nb-NO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59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07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934">
              <a:spcBef>
                <a:spcPct val="0"/>
              </a:spcBef>
              <a:spcAft>
                <a:spcPct val="0"/>
              </a:spcAft>
            </a:pPr>
            <a:endParaRPr lang="nb-NO" sz="1867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2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5857" y="310525"/>
            <a:ext cx="7464344" cy="555217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Utlån</a:t>
            </a:r>
            <a:endParaRPr lang="nb-NO" sz="4400" b="1" dirty="0">
              <a:solidFill>
                <a:schemeClr val="accent1"/>
              </a:solidFill>
            </a:endParaRPr>
          </a:p>
        </p:txBody>
      </p:sp>
      <p:sp>
        <p:nvSpPr>
          <p:cNvPr id="12" name="Plassholder for tekst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071284" y="5846234"/>
            <a:ext cx="499533" cy="283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867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24" name="Rektangel 11"/>
          <p:cNvSpPr/>
          <p:nvPr/>
        </p:nvSpPr>
        <p:spPr>
          <a:xfrm>
            <a:off x="8315748" y="1271643"/>
            <a:ext cx="3840427" cy="40324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rgbClr val="FFFFFF"/>
                </a:solidFill>
              </a:rPr>
              <a:t>Nøkkeltall 30.09.19: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rgbClr val="FFFFFF"/>
                </a:solidFill>
              </a:rPr>
              <a:t>Utlånsvekst 4,3 % siste 12 </a:t>
            </a:r>
            <a:r>
              <a:rPr lang="nb-NO" sz="1867" b="1" dirty="0" err="1" smtClean="0">
                <a:solidFill>
                  <a:srgbClr val="FFFFFF"/>
                </a:solidFill>
              </a:rPr>
              <a:t>mnd</a:t>
            </a:r>
            <a:r>
              <a:rPr lang="nb-NO" sz="1867" b="1" dirty="0" smtClean="0">
                <a:solidFill>
                  <a:srgbClr val="FFFFFF"/>
                </a:solidFill>
              </a:rPr>
              <a:t> </a:t>
            </a:r>
            <a:r>
              <a:rPr lang="nb-NO" sz="1867" b="1" dirty="0" smtClean="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r>
              <a:rPr lang="nb-NO" sz="1867" b="1" dirty="0" smtClean="0">
                <a:solidFill>
                  <a:srgbClr val="FFFFFF"/>
                </a:solidFill>
              </a:rPr>
              <a:t> 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rgbClr val="FFFFFF"/>
                </a:solidFill>
              </a:rPr>
              <a:t>5,0 % PM og 1,1 % BM</a:t>
            </a:r>
            <a:r>
              <a:rPr lang="nb-NO" sz="1867" b="1" dirty="0" smtClean="0">
                <a:solidFill>
                  <a:srgbClr val="FF0000"/>
                </a:solidFill>
              </a:rPr>
              <a:t> 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 smtClean="0">
              <a:solidFill>
                <a:srgbClr val="FF0000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rgbClr val="FFFFFF"/>
                </a:solidFill>
              </a:rPr>
              <a:t>Utlånsvekst 1,2 % siste kvartal</a:t>
            </a:r>
            <a:r>
              <a:rPr lang="nb-NO" sz="1867" b="1" dirty="0" smtClean="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nb-NO" sz="1867" b="1" dirty="0" smtClean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>
                <a:solidFill>
                  <a:srgbClr val="FFFFFF"/>
                </a:solidFill>
              </a:rPr>
              <a:t>0,2 % PM og 5,9 % BM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 smtClean="0">
              <a:solidFill>
                <a:srgbClr val="FF0000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chemeClr val="bg1"/>
                </a:solidFill>
              </a:rPr>
              <a:t>Norge: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 smtClean="0">
                <a:solidFill>
                  <a:schemeClr val="bg1"/>
                </a:solidFill>
              </a:rPr>
              <a:t>Utlånsvekst  5,8 </a:t>
            </a:r>
            <a:r>
              <a:rPr lang="nb-NO" sz="1867" b="1" dirty="0">
                <a:solidFill>
                  <a:schemeClr val="bg1"/>
                </a:solidFill>
              </a:rPr>
              <a:t>% siste 12 </a:t>
            </a:r>
            <a:r>
              <a:rPr lang="nb-NO" sz="1867" b="1" dirty="0" err="1">
                <a:solidFill>
                  <a:schemeClr val="bg1"/>
                </a:solidFill>
              </a:rPr>
              <a:t>mnd</a:t>
            </a:r>
            <a:r>
              <a:rPr lang="nb-NO" sz="1867" b="1" dirty="0">
                <a:solidFill>
                  <a:schemeClr val="bg1"/>
                </a:solidFill>
              </a:rPr>
              <a:t> </a:t>
            </a:r>
            <a:r>
              <a:rPr lang="nb-NO" sz="1867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</a:t>
            </a:r>
            <a:endParaRPr lang="nb-NO" sz="1867" b="1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867" b="1" dirty="0">
                <a:solidFill>
                  <a:schemeClr val="bg1"/>
                </a:solidFill>
              </a:rPr>
              <a:t>PM </a:t>
            </a:r>
            <a:r>
              <a:rPr lang="nb-NO" sz="1867" b="1" dirty="0" smtClean="0">
                <a:solidFill>
                  <a:schemeClr val="bg1"/>
                </a:solidFill>
              </a:rPr>
              <a:t>5,1 </a:t>
            </a:r>
            <a:r>
              <a:rPr lang="nb-NO" sz="1867" b="1" dirty="0">
                <a:solidFill>
                  <a:schemeClr val="bg1"/>
                </a:solidFill>
              </a:rPr>
              <a:t>% og BM </a:t>
            </a:r>
            <a:r>
              <a:rPr lang="nb-NO" sz="1867" b="1" dirty="0" smtClean="0">
                <a:solidFill>
                  <a:schemeClr val="bg1"/>
                </a:solidFill>
              </a:rPr>
              <a:t>6,9 </a:t>
            </a:r>
            <a:r>
              <a:rPr lang="nb-NO" sz="1867" b="1" dirty="0">
                <a:solidFill>
                  <a:schemeClr val="bg1"/>
                </a:solidFill>
              </a:rPr>
              <a:t>%</a:t>
            </a:r>
            <a:r>
              <a:rPr lang="nb-NO" sz="2800" b="1" dirty="0">
                <a:solidFill>
                  <a:srgbClr val="FF0000"/>
                </a:solidFill>
              </a:rPr>
              <a:t>	</a:t>
            </a:r>
            <a:endParaRPr lang="nb-NO" sz="2133" b="1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/>
        </p:nvSpPr>
        <p:spPr>
          <a:xfrm>
            <a:off x="951830" y="1457380"/>
            <a:ext cx="576064" cy="49062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34"/>
            <a:endParaRPr lang="nb-NO" sz="1867">
              <a:solidFill>
                <a:prstClr val="white"/>
              </a:solidFill>
            </a:endParaRP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053822946"/>
              </p:ext>
            </p:extLst>
          </p:nvPr>
        </p:nvGraphicFramePr>
        <p:xfrm>
          <a:off x="156963" y="1026585"/>
          <a:ext cx="764395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24258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3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Plassholder for lysbildenummer 6"/>
          <p:cNvSpPr txBox="1">
            <a:spLocks/>
          </p:cNvSpPr>
          <p:nvPr/>
        </p:nvSpPr>
        <p:spPr>
          <a:xfrm>
            <a:off x="293420" y="6441947"/>
            <a:ext cx="203582" cy="2051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8015E39-59DC-48A0-9676-AD2CAF5CD29F}" type="slidenum">
              <a:rPr lang="nb-NO" sz="1333">
                <a:solidFill>
                  <a:srgbClr val="032A74"/>
                </a:solidFill>
              </a:rPr>
              <a:pPr/>
              <a:t>23</a:t>
            </a:fld>
            <a:endParaRPr lang="nb-NO" sz="1333">
              <a:solidFill>
                <a:srgbClr val="032A74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586224" y="-341350"/>
            <a:ext cx="10799071" cy="1625060"/>
          </a:xfrm>
        </p:spPr>
        <p:txBody>
          <a:bodyPr/>
          <a:lstStyle/>
          <a:p>
            <a:r>
              <a:rPr lang="nb-NO" sz="4400" b="1" dirty="0">
                <a:solidFill>
                  <a:schemeClr val="accent1"/>
                </a:solidFill>
              </a:rPr>
              <a:t/>
            </a:r>
            <a:br>
              <a:rPr lang="nb-NO" sz="4400" b="1" dirty="0">
                <a:solidFill>
                  <a:schemeClr val="accent1"/>
                </a:solidFill>
              </a:rPr>
            </a:br>
            <a:r>
              <a:rPr lang="nb-NO" sz="3600" b="1" dirty="0" smtClean="0">
                <a:solidFill>
                  <a:schemeClr val="accent1"/>
                </a:solidFill>
              </a:rPr>
              <a:t>Sterk innskuddsvekst i 1. halvår </a:t>
            </a:r>
            <a:r>
              <a:rPr lang="nb-NO" sz="3600" b="1" dirty="0">
                <a:solidFill>
                  <a:schemeClr val="accent1"/>
                </a:solidFill>
              </a:rPr>
              <a:t/>
            </a:r>
            <a:br>
              <a:rPr lang="nb-NO" sz="3600" b="1" dirty="0">
                <a:solidFill>
                  <a:schemeClr val="accent1"/>
                </a:solidFill>
              </a:rPr>
            </a:br>
            <a:r>
              <a:rPr lang="nb-NO" sz="3600" b="1" dirty="0" smtClean="0">
                <a:solidFill>
                  <a:schemeClr val="accent1"/>
                </a:solidFill>
              </a:rPr>
              <a:t>Solid innskuddsdekning</a:t>
            </a:r>
            <a:r>
              <a:rPr lang="nb-NO" sz="3600" dirty="0"/>
              <a:t/>
            </a:r>
            <a:br>
              <a:rPr lang="nb-NO" sz="3600" dirty="0"/>
            </a:br>
            <a:r>
              <a:rPr lang="nb-NO" sz="1600" dirty="0"/>
              <a:t> </a:t>
            </a:r>
          </a:p>
        </p:txBody>
      </p:sp>
      <p:sp>
        <p:nvSpPr>
          <p:cNvPr id="13" name="Rektangel 12"/>
          <p:cNvSpPr/>
          <p:nvPr/>
        </p:nvSpPr>
        <p:spPr>
          <a:xfrm>
            <a:off x="8089538" y="4602666"/>
            <a:ext cx="4678215" cy="15490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§"/>
            </a:pPr>
            <a:endParaRPr lang="nb-NO" sz="1600" dirty="0">
              <a:solidFill>
                <a:srgbClr val="135EA0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600" b="1" dirty="0" smtClean="0">
                <a:solidFill>
                  <a:srgbClr val="135EA0"/>
                </a:solidFill>
              </a:rPr>
              <a:t>Samlet innskuddsvekst </a:t>
            </a:r>
            <a:r>
              <a:rPr lang="nb-NO" sz="1600" b="1" dirty="0">
                <a:solidFill>
                  <a:srgbClr val="135EA0"/>
                </a:solidFill>
              </a:rPr>
              <a:t>siste 12 </a:t>
            </a:r>
            <a:r>
              <a:rPr lang="nb-NO" sz="1600" b="1" dirty="0" err="1" smtClean="0">
                <a:solidFill>
                  <a:srgbClr val="135EA0"/>
                </a:solidFill>
              </a:rPr>
              <a:t>mnd</a:t>
            </a:r>
            <a:r>
              <a:rPr lang="nb-NO" sz="1600" b="1" dirty="0" smtClean="0">
                <a:solidFill>
                  <a:srgbClr val="135EA0"/>
                </a:solidFill>
              </a:rPr>
              <a:t>:  12,3 %</a:t>
            </a:r>
            <a:endParaRPr lang="nb-NO" sz="1600" b="1" dirty="0">
              <a:solidFill>
                <a:srgbClr val="135EA0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135EA0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135EA0"/>
              </a:solidFill>
            </a:endParaRPr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3348742135"/>
              </p:ext>
            </p:extLst>
          </p:nvPr>
        </p:nvGraphicFramePr>
        <p:xfrm>
          <a:off x="696975" y="1178987"/>
          <a:ext cx="7111162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2936320061"/>
              </p:ext>
            </p:extLst>
          </p:nvPr>
        </p:nvGraphicFramePr>
        <p:xfrm>
          <a:off x="8649255" y="1151307"/>
          <a:ext cx="3196948" cy="3146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63263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 sz="5400" b="1" dirty="0" smtClean="0"/>
              <a:t>Kredittområdet</a:t>
            </a:r>
            <a:endParaRPr lang="nb-NO" sz="5400" b="1" dirty="0"/>
          </a:p>
        </p:txBody>
      </p:sp>
      <p:pic>
        <p:nvPicPr>
          <p:cNvPr id="5" name="Plassholder for bilde 4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2" r="971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24686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4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934">
              <a:spcBef>
                <a:spcPct val="0"/>
              </a:spcBef>
              <a:spcAft>
                <a:spcPct val="0"/>
              </a:spcAft>
            </a:pPr>
            <a:endParaRPr lang="nb-NO" sz="1867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5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12" name="Plassholder for tekst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071284" y="5846234"/>
            <a:ext cx="499533" cy="283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867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24" name="Rektangel 11"/>
          <p:cNvSpPr/>
          <p:nvPr/>
        </p:nvSpPr>
        <p:spPr>
          <a:xfrm>
            <a:off x="8304245" y="1604798"/>
            <a:ext cx="3840427" cy="851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133" b="1" dirty="0">
                <a:solidFill>
                  <a:srgbClr val="FFFFFF"/>
                </a:solidFill>
              </a:rPr>
              <a:t> </a:t>
            </a: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sp>
        <p:nvSpPr>
          <p:cNvPr id="4" name="TekstSylinder 3"/>
          <p:cNvSpPr txBox="1"/>
          <p:nvPr/>
        </p:nvSpPr>
        <p:spPr>
          <a:xfrm>
            <a:off x="640848" y="477978"/>
            <a:ext cx="83458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34"/>
            <a:r>
              <a:rPr lang="nb-NO" sz="4000" b="1" dirty="0" smtClean="0">
                <a:solidFill>
                  <a:srgbClr val="135EA0"/>
                </a:solidFill>
              </a:rPr>
              <a:t>81 </a:t>
            </a:r>
            <a:r>
              <a:rPr lang="nb-NO" sz="4000" b="1" dirty="0">
                <a:solidFill>
                  <a:srgbClr val="135EA0"/>
                </a:solidFill>
              </a:rPr>
              <a:t>% av </a:t>
            </a:r>
            <a:r>
              <a:rPr lang="nb-NO" sz="4000" b="1" dirty="0" smtClean="0">
                <a:solidFill>
                  <a:srgbClr val="135EA0"/>
                </a:solidFill>
              </a:rPr>
              <a:t>samlet utlåns-</a:t>
            </a:r>
          </a:p>
          <a:p>
            <a:pPr defTabSz="913934"/>
            <a:r>
              <a:rPr lang="nb-NO" sz="4000" b="1" dirty="0" smtClean="0">
                <a:solidFill>
                  <a:srgbClr val="135EA0"/>
                </a:solidFill>
              </a:rPr>
              <a:t>engasjement i personmarkedet</a:t>
            </a:r>
            <a:endParaRPr lang="nb-NO" sz="4000" b="1" dirty="0">
              <a:solidFill>
                <a:srgbClr val="135EA0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271" y="0"/>
            <a:ext cx="5688379" cy="7281124"/>
          </a:xfrm>
          <a:prstGeom prst="rect">
            <a:avLst/>
          </a:prstGeom>
        </p:spPr>
      </p:pic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726060615"/>
              </p:ext>
            </p:extLst>
          </p:nvPr>
        </p:nvGraphicFramePr>
        <p:xfrm>
          <a:off x="455857" y="1788389"/>
          <a:ext cx="6924583" cy="4640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15" name="Bilde 1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8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89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912">
              <a:spcBef>
                <a:spcPct val="0"/>
              </a:spcBef>
              <a:spcAft>
                <a:spcPct val="0"/>
              </a:spcAft>
            </a:pPr>
            <a:endParaRPr lang="nb-NO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6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12" name="Plassholder for tekst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19671" y="5925280"/>
            <a:ext cx="499533" cy="283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867" dirty="0">
              <a:solidFill>
                <a:srgbClr val="032A74"/>
              </a:solidFill>
              <a:sym typeface="+mn-lt"/>
            </a:endParaRP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50378" y="0"/>
            <a:ext cx="4663167" cy="6858000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05" y="6111351"/>
            <a:ext cx="2304256" cy="661192"/>
          </a:xfrm>
          <a:prstGeom prst="rect">
            <a:avLst/>
          </a:prstGeom>
        </p:spPr>
      </p:pic>
      <p:graphicFrame>
        <p:nvGraphicFramePr>
          <p:cNvPr id="13" name="Diagram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9487255"/>
              </p:ext>
            </p:extLst>
          </p:nvPr>
        </p:nvGraphicFramePr>
        <p:xfrm>
          <a:off x="137178" y="183237"/>
          <a:ext cx="7992713" cy="6340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40757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 sz="5400" b="1" dirty="0" smtClean="0"/>
              <a:t>Kredittrisiko</a:t>
            </a:r>
            <a:endParaRPr lang="nb-NO" sz="5400" b="1" dirty="0"/>
          </a:p>
        </p:txBody>
      </p:sp>
      <p:pic>
        <p:nvPicPr>
          <p:cNvPr id="5" name="Plassholder for bilde 4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2" r="971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2260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81252" y="716468"/>
            <a:ext cx="10629499" cy="572080"/>
          </a:xfrm>
        </p:spPr>
        <p:txBody>
          <a:bodyPr/>
          <a:lstStyle/>
          <a:p>
            <a:r>
              <a:rPr lang="nb-NO" dirty="0" smtClean="0"/>
              <a:t>Utlån i trinn 1, 2 og 3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525069-639F-4B72-BFC8-324B8AE54FCE}" type="datetime1">
              <a:rPr lang="nb-NO" smtClean="0">
                <a:solidFill>
                  <a:srgbClr val="032A74"/>
                </a:solidFill>
              </a:rPr>
              <a:pPr/>
              <a:t>14.01.2020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8</a:t>
            </a:fld>
            <a:endParaRPr lang="nb-NO">
              <a:solidFill>
                <a:srgbClr val="032A74"/>
              </a:solidFill>
            </a:endParaRP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791616663"/>
              </p:ext>
            </p:extLst>
          </p:nvPr>
        </p:nvGraphicFramePr>
        <p:xfrm>
          <a:off x="395210" y="1802675"/>
          <a:ext cx="3788227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149483047"/>
              </p:ext>
            </p:extLst>
          </p:nvPr>
        </p:nvGraphicFramePr>
        <p:xfrm>
          <a:off x="4201887" y="1802675"/>
          <a:ext cx="3788227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268202214"/>
              </p:ext>
            </p:extLst>
          </p:nvPr>
        </p:nvGraphicFramePr>
        <p:xfrm>
          <a:off x="8132776" y="1802675"/>
          <a:ext cx="3788227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kstSylinder 2"/>
          <p:cNvSpPr txBox="1"/>
          <p:nvPr/>
        </p:nvSpPr>
        <p:spPr>
          <a:xfrm>
            <a:off x="975360" y="552123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>
              <a:solidFill>
                <a:schemeClr val="tx2"/>
              </a:solidFill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293419" y="5521234"/>
            <a:ext cx="42384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000" dirty="0" smtClean="0">
                <a:solidFill>
                  <a:schemeClr val="accent1"/>
                </a:solidFill>
              </a:rPr>
              <a:t>* Økning i trinn 1 fra 2. </a:t>
            </a:r>
            <a:r>
              <a:rPr lang="nb-NO" sz="1000" dirty="0" err="1" smtClean="0">
                <a:solidFill>
                  <a:schemeClr val="accent1"/>
                </a:solidFill>
              </a:rPr>
              <a:t>kv</a:t>
            </a:r>
            <a:r>
              <a:rPr lang="nb-NO" sz="1000" dirty="0" smtClean="0">
                <a:solidFill>
                  <a:schemeClr val="accent1"/>
                </a:solidFill>
              </a:rPr>
              <a:t>. 19 til 3. </a:t>
            </a:r>
            <a:r>
              <a:rPr lang="nb-NO" sz="1000" dirty="0" err="1" smtClean="0">
                <a:solidFill>
                  <a:schemeClr val="accent1"/>
                </a:solidFill>
              </a:rPr>
              <a:t>kv</a:t>
            </a:r>
            <a:r>
              <a:rPr lang="nb-NO" sz="1000" dirty="0" smtClean="0">
                <a:solidFill>
                  <a:schemeClr val="accent1"/>
                </a:solidFill>
              </a:rPr>
              <a:t>. 19 skyldes delvis revurdering/endring av målemetode IFRS 9/IFRS 13</a:t>
            </a:r>
            <a:endParaRPr lang="nb-NO" sz="1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428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46179" y="740702"/>
            <a:ext cx="10515600" cy="667265"/>
          </a:xfrm>
        </p:spPr>
        <p:txBody>
          <a:bodyPr>
            <a:normAutofit/>
          </a:bodyPr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Porteføljeutvikling </a:t>
            </a:r>
            <a:endParaRPr lang="nb-NO" sz="4400" b="1" dirty="0">
              <a:solidFill>
                <a:schemeClr val="accent1"/>
              </a:solidFill>
            </a:endParaRP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29</a:t>
            </a:fld>
            <a:endParaRPr lang="nb-NO">
              <a:solidFill>
                <a:srgbClr val="032A74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020405873"/>
              </p:ext>
            </p:extLst>
          </p:nvPr>
        </p:nvGraphicFramePr>
        <p:xfrm>
          <a:off x="6125593" y="1757780"/>
          <a:ext cx="5664430" cy="4429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315179349"/>
              </p:ext>
            </p:extLst>
          </p:nvPr>
        </p:nvGraphicFramePr>
        <p:xfrm>
          <a:off x="239549" y="1757780"/>
          <a:ext cx="5664430" cy="4429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4634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02960" y="416046"/>
            <a:ext cx="11514428" cy="1083374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Moderat  boligprisutvikling i våre  markeder siste 2 år</a:t>
            </a:r>
            <a:endParaRPr lang="nb-NO" sz="4400" dirty="0">
              <a:solidFill>
                <a:schemeClr val="accent1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3</a:t>
            </a:fld>
            <a:endParaRPr lang="nb-NO">
              <a:solidFill>
                <a:srgbClr val="032A74"/>
              </a:solidFill>
            </a:endParaRPr>
          </a:p>
        </p:txBody>
      </p:sp>
      <p:graphicFrame>
        <p:nvGraphicFramePr>
          <p:cNvPr id="7" name="Plassholder for innhold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21192806"/>
              </p:ext>
            </p:extLst>
          </p:nvPr>
        </p:nvGraphicFramePr>
        <p:xfrm>
          <a:off x="781050" y="1297577"/>
          <a:ext cx="10629900" cy="4963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90136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30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04200" y="225912"/>
            <a:ext cx="10405529" cy="1165512"/>
          </a:xfrm>
        </p:spPr>
        <p:txBody>
          <a:bodyPr/>
          <a:lstStyle/>
          <a:p>
            <a:r>
              <a:rPr lang="nb-NO" sz="4000" b="1" dirty="0">
                <a:solidFill>
                  <a:schemeClr val="accent1"/>
                </a:solidFill>
              </a:rPr>
              <a:t>Risikoprofil – utlån i </a:t>
            </a:r>
            <a:r>
              <a:rPr lang="nb-NO" sz="4000" b="1" dirty="0" smtClean="0">
                <a:solidFill>
                  <a:schemeClr val="accent1"/>
                </a:solidFill>
              </a:rPr>
              <a:t>PM</a:t>
            </a:r>
            <a:br>
              <a:rPr lang="nb-NO" sz="4000" b="1" dirty="0" smtClean="0">
                <a:solidFill>
                  <a:schemeClr val="accent1"/>
                </a:solidFill>
              </a:rPr>
            </a:br>
            <a:r>
              <a:rPr lang="nb-NO" sz="4000" b="1" dirty="0" smtClean="0">
                <a:solidFill>
                  <a:schemeClr val="accent1"/>
                </a:solidFill>
              </a:rPr>
              <a:t> </a:t>
            </a:r>
            <a:r>
              <a:rPr lang="nb-NO" sz="3733" dirty="0"/>
              <a:t/>
            </a:r>
            <a:br>
              <a:rPr lang="nb-NO" sz="3733" dirty="0"/>
            </a:br>
            <a:endParaRPr lang="nb-NO" sz="1467" dirty="0"/>
          </a:p>
        </p:txBody>
      </p:sp>
      <p:sp>
        <p:nvSpPr>
          <p:cNvPr id="8" name="Rektangel 11"/>
          <p:cNvSpPr/>
          <p:nvPr/>
        </p:nvSpPr>
        <p:spPr>
          <a:xfrm>
            <a:off x="8332200" y="2255643"/>
            <a:ext cx="370091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 smtClean="0">
                <a:solidFill>
                  <a:srgbClr val="FFFFFF"/>
                </a:solidFill>
              </a:rPr>
              <a:t>Personmarkedsporteføljen </a:t>
            </a:r>
            <a:r>
              <a:rPr lang="nb-NO" sz="2000" dirty="0">
                <a:solidFill>
                  <a:srgbClr val="FFFFFF"/>
                </a:solidFill>
              </a:rPr>
              <a:t>er meget stabil over tid, og har sterk overvekt av volum i gode risikoklasser.</a:t>
            </a:r>
          </a:p>
        </p:txBody>
      </p:sp>
      <p:sp>
        <p:nvSpPr>
          <p:cNvPr id="7" name="Rektangel 6"/>
          <p:cNvSpPr/>
          <p:nvPr/>
        </p:nvSpPr>
        <p:spPr>
          <a:xfrm>
            <a:off x="2050826" y="1538078"/>
            <a:ext cx="624280" cy="40820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22873368"/>
              </p:ext>
            </p:extLst>
          </p:nvPr>
        </p:nvGraphicFramePr>
        <p:xfrm>
          <a:off x="204200" y="1538078"/>
          <a:ext cx="7746726" cy="5261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7698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31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04200" y="225912"/>
            <a:ext cx="10405529" cy="1165512"/>
          </a:xfrm>
        </p:spPr>
        <p:txBody>
          <a:bodyPr/>
          <a:lstStyle/>
          <a:p>
            <a:r>
              <a:rPr lang="nb-NO" sz="4000" b="1" dirty="0">
                <a:solidFill>
                  <a:schemeClr val="accent1"/>
                </a:solidFill>
              </a:rPr>
              <a:t>Risikoprofil – utlån i B</a:t>
            </a:r>
            <a:r>
              <a:rPr lang="nb-NO" sz="4000" b="1" dirty="0" smtClean="0">
                <a:solidFill>
                  <a:schemeClr val="accent1"/>
                </a:solidFill>
              </a:rPr>
              <a:t>M</a:t>
            </a:r>
            <a:br>
              <a:rPr lang="nb-NO" sz="4000" b="1" dirty="0" smtClean="0">
                <a:solidFill>
                  <a:schemeClr val="accent1"/>
                </a:solidFill>
              </a:rPr>
            </a:br>
            <a:r>
              <a:rPr lang="nb-NO" sz="4000" b="1" dirty="0" smtClean="0">
                <a:solidFill>
                  <a:schemeClr val="accent1"/>
                </a:solidFill>
              </a:rPr>
              <a:t> </a:t>
            </a:r>
            <a:r>
              <a:rPr lang="nb-NO" sz="3733" dirty="0"/>
              <a:t/>
            </a:r>
            <a:br>
              <a:rPr lang="nb-NO" sz="3733" dirty="0"/>
            </a:br>
            <a:endParaRPr lang="nb-NO" sz="1467" dirty="0"/>
          </a:p>
        </p:txBody>
      </p:sp>
      <p:sp>
        <p:nvSpPr>
          <p:cNvPr id="8" name="Rektangel 11"/>
          <p:cNvSpPr/>
          <p:nvPr/>
        </p:nvSpPr>
        <p:spPr>
          <a:xfrm>
            <a:off x="8332200" y="2255643"/>
            <a:ext cx="370091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>
                <a:solidFill>
                  <a:srgbClr val="FFFFFF"/>
                </a:solidFill>
              </a:rPr>
              <a:t>Utviklingen viser en økning i de beste </a:t>
            </a:r>
            <a:r>
              <a:rPr lang="nb-NO" sz="2000" dirty="0" smtClean="0">
                <a:solidFill>
                  <a:srgbClr val="FFFFFF"/>
                </a:solidFill>
              </a:rPr>
              <a:t>risikoklassene over tid, </a:t>
            </a:r>
            <a:r>
              <a:rPr lang="nb-NO" sz="2000" dirty="0">
                <a:solidFill>
                  <a:srgbClr val="FFFFFF"/>
                </a:solidFill>
              </a:rPr>
              <a:t>en </a:t>
            </a:r>
            <a:r>
              <a:rPr lang="nb-NO" sz="2000" dirty="0" smtClean="0">
                <a:solidFill>
                  <a:srgbClr val="FFFFFF"/>
                </a:solidFill>
              </a:rPr>
              <a:t>økning </a:t>
            </a:r>
            <a:r>
              <a:rPr lang="nb-NO" sz="2000" dirty="0">
                <a:solidFill>
                  <a:srgbClr val="FFFFFF"/>
                </a:solidFill>
              </a:rPr>
              <a:t>i </a:t>
            </a:r>
            <a:r>
              <a:rPr lang="nb-NO" sz="2000" dirty="0" smtClean="0">
                <a:solidFill>
                  <a:srgbClr val="FFFFFF"/>
                </a:solidFill>
              </a:rPr>
              <a:t>de middels risikoklassene siste kvartal </a:t>
            </a:r>
            <a:r>
              <a:rPr lang="nb-NO" sz="2000" dirty="0">
                <a:solidFill>
                  <a:srgbClr val="FFFFFF"/>
                </a:solidFill>
              </a:rPr>
              <a:t>og </a:t>
            </a:r>
            <a:r>
              <a:rPr lang="nb-NO" sz="2000" dirty="0" smtClean="0">
                <a:solidFill>
                  <a:srgbClr val="FFFFFF"/>
                </a:solidFill>
              </a:rPr>
              <a:t>en reduksjon i </a:t>
            </a:r>
            <a:r>
              <a:rPr lang="nb-NO" sz="2000" dirty="0">
                <a:solidFill>
                  <a:srgbClr val="FFFFFF"/>
                </a:solidFill>
              </a:rPr>
              <a:t>de høyere </a:t>
            </a:r>
            <a:r>
              <a:rPr lang="nb-NO" sz="2000" dirty="0" smtClean="0">
                <a:solidFill>
                  <a:srgbClr val="FFFFFF"/>
                </a:solidFill>
              </a:rPr>
              <a:t>risikoklassene siste kvartal.</a:t>
            </a:r>
            <a:endParaRPr lang="nb-NO" sz="2000" dirty="0">
              <a:solidFill>
                <a:srgbClr val="FFFFFF"/>
              </a:solidFill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2050826" y="1538078"/>
            <a:ext cx="624280" cy="40820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348899001"/>
              </p:ext>
            </p:extLst>
          </p:nvPr>
        </p:nvGraphicFramePr>
        <p:xfrm>
          <a:off x="204200" y="1538078"/>
          <a:ext cx="7746726" cy="5261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3499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32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22070" y="362607"/>
            <a:ext cx="7782176" cy="1064522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LTV – Belåningsgrad boliglån</a:t>
            </a: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sp>
        <p:nvSpPr>
          <p:cNvPr id="12" name="Rektangel 11"/>
          <p:cNvSpPr/>
          <p:nvPr/>
        </p:nvSpPr>
        <p:spPr>
          <a:xfrm>
            <a:off x="8304246" y="2468894"/>
            <a:ext cx="355332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 smtClean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rgbClr val="FFFFFF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422987146"/>
              </p:ext>
            </p:extLst>
          </p:nvPr>
        </p:nvGraphicFramePr>
        <p:xfrm>
          <a:off x="455857" y="1427130"/>
          <a:ext cx="7379924" cy="5014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ktangel 11"/>
          <p:cNvSpPr/>
          <p:nvPr/>
        </p:nvSpPr>
        <p:spPr>
          <a:xfrm>
            <a:off x="8230449" y="2468894"/>
            <a:ext cx="3700914" cy="1836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>
                <a:solidFill>
                  <a:schemeClr val="bg1"/>
                </a:solidFill>
              </a:rPr>
              <a:t>Privatkunder med pant i fast eiendom; Lånevolum i prosent av totale </a:t>
            </a:r>
            <a:r>
              <a:rPr lang="nb-NO" sz="2000" dirty="0" smtClean="0">
                <a:solidFill>
                  <a:schemeClr val="bg1"/>
                </a:solidFill>
              </a:rPr>
              <a:t>sikkerheter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2000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 smtClean="0">
                <a:solidFill>
                  <a:schemeClr val="bg1"/>
                </a:solidFill>
              </a:rPr>
              <a:t>LTV er intervallfordelt</a:t>
            </a:r>
            <a:endParaRPr lang="nb-NO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022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32579" y="1988841"/>
            <a:ext cx="9144000" cy="1654407"/>
          </a:xfrm>
        </p:spPr>
        <p:txBody>
          <a:bodyPr/>
          <a:lstStyle/>
          <a:p>
            <a:r>
              <a:rPr lang="nb-NO" dirty="0" smtClean="0"/>
              <a:t>Egenkapitalbevis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7306" y="-1651860"/>
            <a:ext cx="13798414" cy="9198943"/>
          </a:xfrm>
          <a:prstGeom prst="rect">
            <a:avLst/>
          </a:prstGeom>
        </p:spPr>
      </p:pic>
      <p:sp>
        <p:nvSpPr>
          <p:cNvPr id="6" name="TekstSylinder 5"/>
          <p:cNvSpPr txBox="1"/>
          <p:nvPr/>
        </p:nvSpPr>
        <p:spPr>
          <a:xfrm>
            <a:off x="377814" y="4606643"/>
            <a:ext cx="71054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34"/>
            <a:r>
              <a:rPr lang="nb-NO" sz="5400" b="1" dirty="0" smtClean="0">
                <a:solidFill>
                  <a:schemeClr val="bg1"/>
                </a:solidFill>
              </a:rPr>
              <a:t>Likviditet og </a:t>
            </a:r>
            <a:r>
              <a:rPr lang="nb-NO" sz="5400" b="1" dirty="0" err="1" smtClean="0">
                <a:solidFill>
                  <a:schemeClr val="bg1"/>
                </a:solidFill>
              </a:rPr>
              <a:t>Funding</a:t>
            </a:r>
            <a:r>
              <a:rPr lang="nb-NO" sz="5400" dirty="0" smtClean="0">
                <a:solidFill>
                  <a:schemeClr val="bg1"/>
                </a:solidFill>
              </a:rPr>
              <a:t> </a:t>
            </a:r>
            <a:endParaRPr lang="nb-NO" sz="5400" dirty="0">
              <a:solidFill>
                <a:schemeClr val="bg1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65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34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10031" y="395349"/>
            <a:ext cx="7752377" cy="722314"/>
          </a:xfrm>
        </p:spPr>
        <p:txBody>
          <a:bodyPr/>
          <a:lstStyle/>
          <a:p>
            <a:r>
              <a:rPr lang="en-US" sz="4400" b="1" dirty="0" err="1">
                <a:solidFill>
                  <a:schemeClr val="accent1"/>
                </a:solidFill>
              </a:rPr>
              <a:t>Fundingstruktur</a:t>
            </a:r>
            <a:r>
              <a:rPr lang="en-US" sz="4400" b="1" dirty="0">
                <a:solidFill>
                  <a:schemeClr val="accent1"/>
                </a:solidFill>
              </a:rPr>
              <a:t> </a:t>
            </a:r>
            <a:r>
              <a:rPr lang="en-US" sz="4400" b="1" dirty="0" smtClean="0">
                <a:solidFill>
                  <a:schemeClr val="accent1"/>
                </a:solidFill>
              </a:rPr>
              <a:t>30.09.19</a:t>
            </a:r>
            <a:r>
              <a:rPr lang="nb-NO" sz="3733" dirty="0"/>
              <a:t/>
            </a:r>
            <a:br>
              <a:rPr lang="nb-NO" sz="3733" dirty="0"/>
            </a:br>
            <a:endParaRPr lang="nb-NO" sz="1467" dirty="0"/>
          </a:p>
        </p:txBody>
      </p:sp>
      <p:sp>
        <p:nvSpPr>
          <p:cNvPr id="8" name="Rektangel 11"/>
          <p:cNvSpPr/>
          <p:nvPr/>
        </p:nvSpPr>
        <p:spPr>
          <a:xfrm>
            <a:off x="8332200" y="2023701"/>
            <a:ext cx="3700914" cy="2103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400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2000" b="1" dirty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 smtClean="0">
                <a:solidFill>
                  <a:srgbClr val="FFFFFF"/>
                </a:solidFill>
              </a:rPr>
              <a:t>Innskudd 					24 </a:t>
            </a:r>
            <a:r>
              <a:rPr lang="nb-NO" sz="2000" dirty="0" err="1" smtClean="0">
                <a:solidFill>
                  <a:srgbClr val="FFFFFF"/>
                </a:solidFill>
              </a:rPr>
              <a:t>mrd</a:t>
            </a:r>
            <a:endParaRPr lang="nb-NO" sz="2000" dirty="0" smtClean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 smtClean="0">
                <a:solidFill>
                  <a:srgbClr val="FFFFFF"/>
                </a:solidFill>
              </a:rPr>
              <a:t>Bolig-/Næringskreditt 	13 </a:t>
            </a:r>
            <a:r>
              <a:rPr lang="nb-NO" sz="2000" dirty="0" err="1" smtClean="0">
                <a:solidFill>
                  <a:srgbClr val="FFFFFF"/>
                </a:solidFill>
              </a:rPr>
              <a:t>mrd</a:t>
            </a:r>
            <a:endParaRPr lang="nb-NO" sz="2000" dirty="0" smtClean="0">
              <a:solidFill>
                <a:srgbClr val="FFFFFF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 smtClean="0">
                <a:solidFill>
                  <a:srgbClr val="FFFFFF"/>
                </a:solidFill>
              </a:rPr>
              <a:t>Markedsfinansiering 	8   </a:t>
            </a:r>
            <a:r>
              <a:rPr lang="nb-NO" sz="2000" dirty="0" err="1" smtClean="0">
                <a:solidFill>
                  <a:srgbClr val="FFFFFF"/>
                </a:solidFill>
              </a:rPr>
              <a:t>mrd</a:t>
            </a:r>
            <a:endParaRPr lang="nb-NO" sz="2000" dirty="0">
              <a:solidFill>
                <a:srgbClr val="FFFFFF"/>
              </a:solidFill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2050826" y="1538078"/>
            <a:ext cx="624280" cy="40820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737836761"/>
              </p:ext>
            </p:extLst>
          </p:nvPr>
        </p:nvGraphicFramePr>
        <p:xfrm>
          <a:off x="204200" y="1023280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63359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35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3296" y="361729"/>
            <a:ext cx="7752377" cy="722314"/>
          </a:xfrm>
        </p:spPr>
        <p:txBody>
          <a:bodyPr/>
          <a:lstStyle/>
          <a:p>
            <a:r>
              <a:rPr lang="en-US" sz="4400" b="1" dirty="0" err="1" smtClean="0">
                <a:solidFill>
                  <a:schemeClr val="accent1"/>
                </a:solidFill>
              </a:rPr>
              <a:t>Obligasjonsportefølje</a:t>
            </a:r>
            <a:r>
              <a:rPr lang="en-US" sz="4400" b="1" dirty="0" smtClean="0">
                <a:solidFill>
                  <a:schemeClr val="accent1"/>
                </a:solidFill>
              </a:rPr>
              <a:t> 30.09.19</a:t>
            </a:r>
            <a:r>
              <a:rPr lang="nb-NO" sz="3733" dirty="0"/>
              <a:t/>
            </a:r>
            <a:br>
              <a:rPr lang="nb-NO" sz="3733" dirty="0"/>
            </a:br>
            <a:endParaRPr lang="nb-NO" sz="1467" dirty="0"/>
          </a:p>
        </p:txBody>
      </p:sp>
      <p:sp>
        <p:nvSpPr>
          <p:cNvPr id="8" name="Rektangel 11"/>
          <p:cNvSpPr/>
          <p:nvPr/>
        </p:nvSpPr>
        <p:spPr>
          <a:xfrm>
            <a:off x="8211428" y="2607760"/>
            <a:ext cx="37257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b="1" dirty="0" smtClean="0">
                <a:solidFill>
                  <a:srgbClr val="FFFFFF"/>
                </a:solidFill>
              </a:rPr>
              <a:t>Obligasjonsportefølje: 4,8 </a:t>
            </a:r>
            <a:r>
              <a:rPr lang="nb-NO" sz="2000" b="1" dirty="0" err="1" smtClean="0">
                <a:solidFill>
                  <a:srgbClr val="FFFFFF"/>
                </a:solidFill>
              </a:rPr>
              <a:t>mrd</a:t>
            </a:r>
            <a:endParaRPr lang="nb-NO" sz="2000" b="1" dirty="0">
              <a:solidFill>
                <a:srgbClr val="FFFFFF"/>
              </a:solidFill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2050826" y="1538078"/>
            <a:ext cx="624280" cy="40820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494199131"/>
              </p:ext>
            </p:extLst>
          </p:nvPr>
        </p:nvGraphicFramePr>
        <p:xfrm>
          <a:off x="204200" y="1105354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81866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 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4251" y="-370061"/>
            <a:ext cx="12989881" cy="7940045"/>
          </a:xfrm>
          <a:prstGeom prst="rect">
            <a:avLst/>
          </a:prstGeom>
        </p:spPr>
      </p:pic>
      <p:sp>
        <p:nvSpPr>
          <p:cNvPr id="6" name="Rektangel 5"/>
          <p:cNvSpPr/>
          <p:nvPr/>
        </p:nvSpPr>
        <p:spPr>
          <a:xfrm>
            <a:off x="554200" y="440987"/>
            <a:ext cx="106129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34"/>
            <a:r>
              <a:rPr lang="nb-NO" sz="4800" b="1" dirty="0" smtClean="0">
                <a:solidFill>
                  <a:srgbClr val="135EA0"/>
                </a:solidFill>
              </a:rPr>
              <a:t>Moodys: A2 Stable</a:t>
            </a:r>
            <a:endParaRPr lang="nb-NO" sz="4800" b="1" dirty="0">
              <a:solidFill>
                <a:srgbClr val="135EA0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854" y="1219516"/>
            <a:ext cx="8134350" cy="56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31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11424" y="1988841"/>
            <a:ext cx="9144000" cy="1654407"/>
          </a:xfrm>
        </p:spPr>
        <p:txBody>
          <a:bodyPr/>
          <a:lstStyle/>
          <a:p>
            <a:r>
              <a:rPr lang="nb-NO" dirty="0" smtClean="0"/>
              <a:t>Datterselskaper</a:t>
            </a:r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703" y="-934938"/>
            <a:ext cx="12945720" cy="8630480"/>
          </a:xfrm>
          <a:prstGeom prst="rect">
            <a:avLst/>
          </a:prstGeom>
        </p:spPr>
      </p:pic>
      <p:sp>
        <p:nvSpPr>
          <p:cNvPr id="8" name="TekstSylinder 7"/>
          <p:cNvSpPr txBox="1"/>
          <p:nvPr/>
        </p:nvSpPr>
        <p:spPr>
          <a:xfrm>
            <a:off x="772082" y="930875"/>
            <a:ext cx="65959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34"/>
            <a:r>
              <a:rPr lang="nb-NO" sz="5400" b="1" dirty="0">
                <a:solidFill>
                  <a:schemeClr val="bg1"/>
                </a:solidFill>
              </a:rPr>
              <a:t>Datterselskaper</a:t>
            </a:r>
            <a:r>
              <a:rPr lang="nb-NO" sz="1867" b="1" dirty="0">
                <a:solidFill>
                  <a:srgbClr val="44546A"/>
                </a:solidFill>
              </a:rPr>
              <a:t> </a:t>
            </a: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8533" y="5820372"/>
            <a:ext cx="2880320" cy="82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262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38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46875" y="546058"/>
            <a:ext cx="10258912" cy="504754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Datterselskaper</a:t>
            </a:r>
            <a:endParaRPr lang="nb-NO" sz="4000" b="1" dirty="0">
              <a:solidFill>
                <a:schemeClr val="accent1"/>
              </a:solidFill>
            </a:endParaRPr>
          </a:p>
        </p:txBody>
      </p:sp>
      <p:sp>
        <p:nvSpPr>
          <p:cNvPr id="10" name="Rektangel 9"/>
          <p:cNvSpPr/>
          <p:nvPr/>
        </p:nvSpPr>
        <p:spPr>
          <a:xfrm>
            <a:off x="567185" y="5910207"/>
            <a:ext cx="83494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34"/>
            <a:r>
              <a:rPr lang="nb-NO" sz="1200" dirty="0">
                <a:solidFill>
                  <a:srgbClr val="135EA0"/>
                </a:solidFill>
                <a:latin typeface="+mj-lt"/>
                <a:cs typeface="Verdana"/>
              </a:rPr>
              <a:t>EM 1 og Z eiendom har en samlet boligomsetning på kr </a:t>
            </a:r>
            <a:r>
              <a:rPr lang="nb-NO" sz="1200" dirty="0" smtClean="0">
                <a:solidFill>
                  <a:srgbClr val="135EA0"/>
                </a:solidFill>
                <a:latin typeface="+mj-lt"/>
                <a:cs typeface="Verdana"/>
              </a:rPr>
              <a:t>5,9 </a:t>
            </a:r>
            <a:r>
              <a:rPr lang="nb-NO" sz="1200" dirty="0" err="1" smtClean="0">
                <a:solidFill>
                  <a:srgbClr val="135EA0"/>
                </a:solidFill>
                <a:latin typeface="+mj-lt"/>
                <a:cs typeface="Verdana"/>
              </a:rPr>
              <a:t>mrd</a:t>
            </a:r>
            <a:r>
              <a:rPr lang="nb-NO" sz="1200" dirty="0" smtClean="0">
                <a:solidFill>
                  <a:srgbClr val="135EA0"/>
                </a:solidFill>
                <a:latin typeface="+mj-lt"/>
                <a:cs typeface="Verdana"/>
              </a:rPr>
              <a:t> </a:t>
            </a:r>
            <a:r>
              <a:rPr lang="nb-NO" sz="1200" dirty="0" err="1">
                <a:solidFill>
                  <a:srgbClr val="135EA0"/>
                </a:solidFill>
                <a:latin typeface="+mj-lt"/>
                <a:cs typeface="Verdana"/>
              </a:rPr>
              <a:t>hiå</a:t>
            </a:r>
            <a:r>
              <a:rPr lang="nb-NO" sz="1200" dirty="0">
                <a:solidFill>
                  <a:srgbClr val="135EA0"/>
                </a:solidFill>
                <a:latin typeface="+mj-lt"/>
                <a:cs typeface="Verdana"/>
              </a:rPr>
              <a:t> fordelt på </a:t>
            </a:r>
            <a:r>
              <a:rPr lang="nb-NO" sz="1200" dirty="0" err="1">
                <a:solidFill>
                  <a:srgbClr val="135EA0"/>
                </a:solidFill>
                <a:latin typeface="+mj-lt"/>
                <a:cs typeface="Verdana"/>
              </a:rPr>
              <a:t>ca</a:t>
            </a:r>
            <a:r>
              <a:rPr lang="nb-NO" sz="1200" dirty="0">
                <a:solidFill>
                  <a:srgbClr val="135EA0"/>
                </a:solidFill>
                <a:latin typeface="+mj-lt"/>
                <a:cs typeface="Verdana"/>
              </a:rPr>
              <a:t> </a:t>
            </a:r>
            <a:r>
              <a:rPr lang="nb-NO" sz="1200" dirty="0" smtClean="0">
                <a:solidFill>
                  <a:srgbClr val="135EA0"/>
                </a:solidFill>
                <a:latin typeface="+mj-lt"/>
                <a:cs typeface="Verdana"/>
              </a:rPr>
              <a:t>2.000 enheter</a:t>
            </a:r>
            <a:endParaRPr lang="nb-NO" sz="1200" dirty="0" smtClean="0">
              <a:solidFill>
                <a:srgbClr val="135EA0"/>
              </a:solidFill>
              <a:latin typeface="Verdana"/>
              <a:cs typeface="Verdana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093186308"/>
              </p:ext>
            </p:extLst>
          </p:nvPr>
        </p:nvGraphicFramePr>
        <p:xfrm>
          <a:off x="567185" y="1447060"/>
          <a:ext cx="5762594" cy="4353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432614219"/>
              </p:ext>
            </p:extLst>
          </p:nvPr>
        </p:nvGraphicFramePr>
        <p:xfrm>
          <a:off x="6108330" y="1447060"/>
          <a:ext cx="5762594" cy="4353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73945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72190" y="2085474"/>
            <a:ext cx="7028252" cy="1965162"/>
          </a:xfrm>
        </p:spPr>
        <p:txBody>
          <a:bodyPr>
            <a:normAutofit/>
          </a:bodyPr>
          <a:lstStyle/>
          <a:p>
            <a:r>
              <a:rPr lang="nb-NO" sz="5400" b="1" dirty="0" smtClean="0"/>
              <a:t>Kursutvikling SBVG</a:t>
            </a:r>
            <a:endParaRPr lang="nb-NO" sz="5400" b="1" dirty="0"/>
          </a:p>
        </p:txBody>
      </p:sp>
      <p:pic>
        <p:nvPicPr>
          <p:cNvPr id="7" name="Plassholder for bilde 6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282" y="0"/>
            <a:ext cx="4859946" cy="7289919"/>
          </a:xfrm>
        </p:spPr>
      </p:pic>
    </p:spTree>
    <p:extLst>
      <p:ext uri="{BB962C8B-B14F-4D97-AF65-F5344CB8AC3E}">
        <p14:creationId xmlns:p14="http://schemas.microsoft.com/office/powerpoint/2010/main" val="37886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02960" y="687744"/>
            <a:ext cx="11514428" cy="555217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Stabil og lav arbeidsledighet</a:t>
            </a:r>
            <a:endParaRPr lang="nb-NO" sz="4400" dirty="0">
              <a:solidFill>
                <a:schemeClr val="accent1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4</a:t>
            </a:fld>
            <a:endParaRPr lang="nb-NO">
              <a:solidFill>
                <a:srgbClr val="032A74"/>
              </a:solidFill>
            </a:endParaRPr>
          </a:p>
        </p:txBody>
      </p:sp>
      <p:graphicFrame>
        <p:nvGraphicFramePr>
          <p:cNvPr id="7" name="Diagram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7431316"/>
              </p:ext>
            </p:extLst>
          </p:nvPr>
        </p:nvGraphicFramePr>
        <p:xfrm>
          <a:off x="609600" y="1480456"/>
          <a:ext cx="11216640" cy="4833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0941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81252" y="510065"/>
            <a:ext cx="11123365" cy="984885"/>
          </a:xfrm>
        </p:spPr>
        <p:txBody>
          <a:bodyPr/>
          <a:lstStyle/>
          <a:p>
            <a:r>
              <a:rPr lang="en-US" sz="4000" b="1" dirty="0" smtClean="0">
                <a:solidFill>
                  <a:schemeClr val="accent1"/>
                </a:solidFill>
              </a:rPr>
              <a:t>Stabil </a:t>
            </a:r>
            <a:r>
              <a:rPr lang="en-US" sz="4000" b="1" dirty="0" err="1">
                <a:solidFill>
                  <a:schemeClr val="accent1"/>
                </a:solidFill>
              </a:rPr>
              <a:t>kursutvikling</a:t>
            </a:r>
            <a:r>
              <a:rPr lang="en-US" sz="4000" b="1" dirty="0">
                <a:solidFill>
                  <a:schemeClr val="accent1"/>
                </a:solidFill>
              </a:rPr>
              <a:t> </a:t>
            </a:r>
            <a:r>
              <a:rPr lang="en-US" sz="4000" b="1" dirty="0" err="1">
                <a:solidFill>
                  <a:schemeClr val="accent1"/>
                </a:solidFill>
              </a:rPr>
              <a:t>og</a:t>
            </a:r>
            <a:r>
              <a:rPr lang="en-US" sz="4000" b="1" dirty="0">
                <a:solidFill>
                  <a:schemeClr val="accent1"/>
                </a:solidFill>
              </a:rPr>
              <a:t> </a:t>
            </a:r>
            <a:r>
              <a:rPr lang="en-US" sz="4000" b="1" dirty="0" err="1">
                <a:solidFill>
                  <a:schemeClr val="accent1"/>
                </a:solidFill>
              </a:rPr>
              <a:t>høy</a:t>
            </a:r>
            <a:r>
              <a:rPr lang="en-US" sz="4000" b="1" dirty="0">
                <a:solidFill>
                  <a:schemeClr val="accent1"/>
                </a:solidFill>
              </a:rPr>
              <a:t> </a:t>
            </a:r>
            <a:r>
              <a:rPr lang="en-US" sz="4000" b="1" dirty="0" err="1">
                <a:solidFill>
                  <a:schemeClr val="accent1"/>
                </a:solidFill>
              </a:rPr>
              <a:t>direkteavkastning</a:t>
            </a:r>
            <a:r>
              <a:rPr lang="en-US" sz="4000" b="1" dirty="0">
                <a:solidFill>
                  <a:schemeClr val="accent1"/>
                </a:solidFill>
              </a:rPr>
              <a:t> SBVG</a:t>
            </a:r>
            <a:endParaRPr lang="nb-NO" sz="4000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40</a:t>
            </a:fld>
            <a:endParaRPr lang="nb-NO">
              <a:solidFill>
                <a:srgbClr val="032A74"/>
              </a:solidFill>
            </a:endParaRPr>
          </a:p>
        </p:txBody>
      </p:sp>
      <p:graphicFrame>
        <p:nvGraphicFramePr>
          <p:cNvPr id="8" name="Tabell 7"/>
          <p:cNvGraphicFramePr>
            <a:graphicFrameLocks noGrp="1"/>
          </p:cNvGraphicFramePr>
          <p:nvPr>
            <p:extLst/>
          </p:nvPr>
        </p:nvGraphicFramePr>
        <p:xfrm>
          <a:off x="6972875" y="3002463"/>
          <a:ext cx="4033615" cy="14235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7618"/>
                <a:gridCol w="1009656"/>
                <a:gridCol w="1009656"/>
                <a:gridCol w="1046685"/>
              </a:tblGrid>
              <a:tr h="405781">
                <a:tc>
                  <a:txBody>
                    <a:bodyPr/>
                    <a:lstStyle/>
                    <a:p>
                      <a:r>
                        <a:rPr lang="nb-NO" sz="1300" baseline="0" dirty="0" smtClean="0"/>
                        <a:t>År</a:t>
                      </a:r>
                      <a:endParaRPr lang="nb-NO" sz="13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aseline="0" dirty="0" smtClean="0"/>
                        <a:t>Utbytte</a:t>
                      </a:r>
                      <a:endParaRPr lang="nb-NO" sz="13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aseline="0" dirty="0" smtClean="0"/>
                        <a:t>Kurs 31.12.</a:t>
                      </a:r>
                      <a:endParaRPr lang="nb-NO" sz="13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aseline="0" dirty="0" smtClean="0"/>
                        <a:t>Direkte avkastning</a:t>
                      </a:r>
                      <a:endParaRPr lang="nb-NO" sz="1300" baseline="0" dirty="0"/>
                    </a:p>
                  </a:txBody>
                  <a:tcPr/>
                </a:tc>
              </a:tr>
              <a:tr h="311969"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016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1,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7,5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6,8 %</a:t>
                      </a:r>
                      <a:endParaRPr lang="nb-NO" sz="1300" b="1" i="0" baseline="0" dirty="0"/>
                    </a:p>
                  </a:txBody>
                  <a:tcPr/>
                </a:tc>
              </a:tr>
              <a:tr h="311969"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017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,40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33,9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7,1 %</a:t>
                      </a:r>
                      <a:endParaRPr lang="nb-NO" sz="1300" b="1" i="0" baseline="0" dirty="0"/>
                    </a:p>
                  </a:txBody>
                  <a:tcPr/>
                </a:tc>
              </a:tr>
              <a:tr h="311969"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018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2,95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35,6</a:t>
                      </a:r>
                      <a:endParaRPr lang="nb-NO" sz="1300" b="1" i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300" b="1" i="0" baseline="0" dirty="0" smtClean="0"/>
                        <a:t>8,3 %</a:t>
                      </a:r>
                      <a:endParaRPr lang="nb-NO" sz="1300" b="1" i="0" baseline="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ell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927299"/>
              </p:ext>
            </p:extLst>
          </p:nvPr>
        </p:nvGraphicFramePr>
        <p:xfrm>
          <a:off x="6972874" y="4790354"/>
          <a:ext cx="4033615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6723"/>
                <a:gridCol w="806723"/>
                <a:gridCol w="806723"/>
                <a:gridCol w="806723"/>
                <a:gridCol w="806723"/>
              </a:tblGrid>
              <a:tr h="370840">
                <a:tc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Norne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Arctic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SB1</a:t>
                      </a:r>
                      <a:r>
                        <a:rPr lang="nb-NO" sz="1200" b="1" baseline="0" dirty="0" smtClean="0"/>
                        <a:t> Markets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Pareto</a:t>
                      </a:r>
                      <a:endParaRPr lang="nb-NO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Kursmål SBVG</a:t>
                      </a:r>
                      <a:endParaRPr lang="nb-NO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45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41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43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>
                          <a:solidFill>
                            <a:schemeClr val="tx1"/>
                          </a:solidFill>
                        </a:rPr>
                        <a:t>45</a:t>
                      </a:r>
                      <a:endParaRPr lang="nb-NO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ktangel 9"/>
          <p:cNvSpPr/>
          <p:nvPr/>
        </p:nvSpPr>
        <p:spPr>
          <a:xfrm>
            <a:off x="6870448" y="1873193"/>
            <a:ext cx="4238465" cy="1025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§"/>
            </a:pPr>
            <a:r>
              <a:rPr lang="nb-NO" dirty="0">
                <a:solidFill>
                  <a:schemeClr val="accent1"/>
                </a:solidFill>
              </a:rPr>
              <a:t>Sluttkurs 37,4 den 30.09.19</a:t>
            </a:r>
          </a:p>
          <a:p>
            <a:pPr marL="285750" lvl="1" indent="-285750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§"/>
            </a:pPr>
            <a:r>
              <a:rPr lang="nb-NO" dirty="0" smtClean="0">
                <a:solidFill>
                  <a:schemeClr val="accent1"/>
                </a:solidFill>
              </a:rPr>
              <a:t>Blant </a:t>
            </a:r>
            <a:r>
              <a:rPr lang="nb-NO" dirty="0">
                <a:solidFill>
                  <a:schemeClr val="accent1"/>
                </a:solidFill>
              </a:rPr>
              <a:t>de beste bankene på direkteavkastning 2016 </a:t>
            </a:r>
            <a:r>
              <a:rPr lang="nb-NO" dirty="0" smtClean="0">
                <a:solidFill>
                  <a:schemeClr val="accent1"/>
                </a:solidFill>
              </a:rPr>
              <a:t>– 2018:</a:t>
            </a:r>
            <a:endParaRPr lang="nb-NO" dirty="0">
              <a:solidFill>
                <a:schemeClr val="accent1"/>
              </a:solidFill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564535164"/>
              </p:ext>
            </p:extLst>
          </p:nvPr>
        </p:nvGraphicFramePr>
        <p:xfrm>
          <a:off x="497001" y="1507802"/>
          <a:ext cx="5655224" cy="4786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" name="Rett pil 4"/>
          <p:cNvCxnSpPr/>
          <p:nvPr/>
        </p:nvCxnSpPr>
        <p:spPr>
          <a:xfrm flipH="1">
            <a:off x="6061064" y="2098766"/>
            <a:ext cx="809384" cy="4326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463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16"/>
          <a:stretch/>
        </p:blipFill>
        <p:spPr>
          <a:xfrm>
            <a:off x="-7749" y="0"/>
            <a:ext cx="5985635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93419" y="488917"/>
            <a:ext cx="4793711" cy="572080"/>
          </a:xfrm>
        </p:spPr>
        <p:txBody>
          <a:bodyPr/>
          <a:lstStyle/>
          <a:p>
            <a:r>
              <a:rPr lang="nb-NO" b="1" dirty="0" smtClean="0">
                <a:solidFill>
                  <a:srgbClr val="135EA0"/>
                </a:solidFill>
              </a:rPr>
              <a:t>Utsikter</a:t>
            </a:r>
            <a:endParaRPr lang="nb-NO" b="1" dirty="0">
              <a:solidFill>
                <a:srgbClr val="135EA0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prstClr val="white"/>
                </a:solidFill>
              </a:rPr>
              <a:pPr/>
              <a:t>41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innhold 5"/>
          <p:cNvSpPr>
            <a:spLocks noGrp="1"/>
          </p:cNvSpPr>
          <p:nvPr>
            <p:ph idx="13"/>
          </p:nvPr>
        </p:nvSpPr>
        <p:spPr>
          <a:xfrm>
            <a:off x="6602870" y="488917"/>
            <a:ext cx="5216237" cy="5104487"/>
          </a:xfrm>
        </p:spPr>
        <p:txBody>
          <a:bodyPr>
            <a:normAutofit fontScale="92500" lnSpcReduction="2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nb-NO" sz="2400" dirty="0" smtClean="0">
                <a:solidFill>
                  <a:schemeClr val="accent1"/>
                </a:solidFill>
              </a:rPr>
              <a:t>Bankens markedsområde er preget av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nb-NO" sz="2000" dirty="0" smtClean="0">
                <a:solidFill>
                  <a:schemeClr val="accent1"/>
                </a:solidFill>
              </a:rPr>
              <a:t>Lav arbeidsledighet</a:t>
            </a:r>
            <a:endParaRPr lang="nb-NO" sz="2000" dirty="0">
              <a:solidFill>
                <a:schemeClr val="accent1"/>
              </a:solidFill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accent1"/>
                </a:solidFill>
              </a:rPr>
              <a:t>Stabilt </a:t>
            </a:r>
            <a:r>
              <a:rPr lang="nb-NO" sz="2000" dirty="0" smtClean="0">
                <a:solidFill>
                  <a:schemeClr val="accent1"/>
                </a:solidFill>
              </a:rPr>
              <a:t>boligmarked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nb-NO" sz="2000" dirty="0" smtClean="0">
                <a:solidFill>
                  <a:schemeClr val="accent1"/>
                </a:solidFill>
              </a:rPr>
              <a:t>Positiv netto innflytting</a:t>
            </a:r>
            <a:endParaRPr lang="nb-NO" sz="2000" dirty="0">
              <a:solidFill>
                <a:schemeClr val="accent1"/>
              </a:solidFill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accent1"/>
                </a:solidFill>
              </a:rPr>
              <a:t>Optimisme i næringslivet</a:t>
            </a:r>
          </a:p>
          <a:p>
            <a:pPr>
              <a:buFont typeface="Wingdings" panose="05000000000000000000" pitchFamily="2" charset="2"/>
              <a:buChar char="§"/>
            </a:pPr>
            <a:endParaRPr lang="nb-NO" sz="2400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nb-NO" sz="24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 smtClean="0">
                <a:solidFill>
                  <a:schemeClr val="accent1"/>
                </a:solidFill>
              </a:rPr>
              <a:t>Pågående </a:t>
            </a:r>
            <a:r>
              <a:rPr lang="nb-NO" sz="2400" dirty="0">
                <a:solidFill>
                  <a:schemeClr val="accent1"/>
                </a:solidFill>
              </a:rPr>
              <a:t>internasjonal uro og lavere vekst i Europa </a:t>
            </a:r>
            <a:r>
              <a:rPr lang="nb-NO" sz="2400" dirty="0" smtClean="0">
                <a:solidFill>
                  <a:schemeClr val="accent1"/>
                </a:solidFill>
              </a:rPr>
              <a:t>skaper usikkerhet fremover</a:t>
            </a:r>
          </a:p>
          <a:p>
            <a:pPr>
              <a:buFont typeface="Wingdings" panose="05000000000000000000" pitchFamily="2" charset="2"/>
              <a:buChar char="§"/>
            </a:pPr>
            <a:endParaRPr lang="nb-NO" sz="2400" dirty="0" smtClean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nb-NO" sz="24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 smtClean="0">
                <a:solidFill>
                  <a:schemeClr val="accent1"/>
                </a:solidFill>
              </a:rPr>
              <a:t>PM kredittvekst som markedsveks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 smtClean="0">
                <a:solidFill>
                  <a:schemeClr val="accent1"/>
                </a:solidFill>
              </a:rPr>
              <a:t>BM moderat kredittveks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>
                <a:solidFill>
                  <a:schemeClr val="accent1"/>
                </a:solidFill>
              </a:rPr>
              <a:t>L</a:t>
            </a:r>
            <a:r>
              <a:rPr lang="nb-NO" sz="2400" dirty="0" smtClean="0">
                <a:solidFill>
                  <a:schemeClr val="accent1"/>
                </a:solidFill>
              </a:rPr>
              <a:t>ave tap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 smtClean="0">
                <a:solidFill>
                  <a:schemeClr val="accent1"/>
                </a:solidFill>
              </a:rPr>
              <a:t>Forventer et godt resultat i 2019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sz="2400" dirty="0">
                <a:solidFill>
                  <a:schemeClr val="accent1"/>
                </a:solidFill>
              </a:rPr>
              <a:t>Mål 10 % egenkapitalavkastning</a:t>
            </a:r>
          </a:p>
          <a:p>
            <a:pPr>
              <a:buFont typeface="Wingdings" panose="05000000000000000000" pitchFamily="2" charset="2"/>
              <a:buChar char="§"/>
            </a:pPr>
            <a:endParaRPr lang="nb-NO" sz="2400" dirty="0" smtClean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nb-NO" sz="2400" dirty="0">
              <a:solidFill>
                <a:schemeClr val="accent1"/>
              </a:solidFill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5910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72190" y="2085474"/>
            <a:ext cx="7028252" cy="1965162"/>
          </a:xfrm>
        </p:spPr>
        <p:txBody>
          <a:bodyPr>
            <a:normAutofit/>
          </a:bodyPr>
          <a:lstStyle/>
          <a:p>
            <a:r>
              <a:rPr lang="nb-NO" sz="5400" b="1" dirty="0" smtClean="0"/>
              <a:t>Vedlegg</a:t>
            </a:r>
            <a:endParaRPr lang="nb-NO" sz="5400" b="1" dirty="0"/>
          </a:p>
        </p:txBody>
      </p:sp>
      <p:pic>
        <p:nvPicPr>
          <p:cNvPr id="7" name="Plassholder for bilde 6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282" y="0"/>
            <a:ext cx="4859946" cy="7289919"/>
          </a:xfrm>
        </p:spPr>
      </p:pic>
    </p:spTree>
    <p:extLst>
      <p:ext uri="{BB962C8B-B14F-4D97-AF65-F5344CB8AC3E}">
        <p14:creationId xmlns:p14="http://schemas.microsoft.com/office/powerpoint/2010/main" val="2233578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43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967596" y="660135"/>
            <a:ext cx="12043275" cy="1329595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Kvartalsregnskap</a:t>
            </a:r>
            <a:r>
              <a:rPr lang="nb-NO" sz="4267" b="1" dirty="0">
                <a:solidFill>
                  <a:schemeClr val="accent1"/>
                </a:solidFill>
              </a:rPr>
              <a:t/>
            </a:r>
            <a:br>
              <a:rPr lang="nb-NO" sz="4267" b="1" dirty="0">
                <a:solidFill>
                  <a:schemeClr val="accent1"/>
                </a:solidFill>
              </a:rPr>
            </a:br>
            <a:r>
              <a:rPr lang="nb-NO" sz="3200" b="1" dirty="0">
                <a:solidFill>
                  <a:schemeClr val="accent1"/>
                </a:solidFill>
              </a:rPr>
              <a:t/>
            </a:r>
            <a:br>
              <a:rPr lang="nb-NO" sz="3200" b="1" dirty="0">
                <a:solidFill>
                  <a:schemeClr val="accent1"/>
                </a:solidFill>
              </a:rPr>
            </a:br>
            <a:endParaRPr lang="nb-NO" sz="3200" dirty="0">
              <a:solidFill>
                <a:schemeClr val="accent1"/>
              </a:solidFill>
            </a:endParaRPr>
          </a:p>
        </p:txBody>
      </p:sp>
      <p:sp useBgFill="1">
        <p:nvSpPr>
          <p:cNvPr id="9" name="Freeform 89"/>
          <p:cNvSpPr/>
          <p:nvPr>
            <p:custDataLst>
              <p:tags r:id="rId1"/>
            </p:custDataLst>
          </p:nvPr>
        </p:nvSpPr>
        <p:spPr bwMode="auto">
          <a:xfrm>
            <a:off x="6794501" y="4819651"/>
            <a:ext cx="626535" cy="245535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34"/>
            <a:endParaRPr lang="nb-NO" sz="1867">
              <a:solidFill>
                <a:prstClr val="white"/>
              </a:solidFill>
            </a:endParaRPr>
          </a:p>
        </p:txBody>
      </p:sp>
      <p:sp useBgFill="1">
        <p:nvSpPr>
          <p:cNvPr id="10" name="Plassholder for tekst 2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3126318" y="3418417"/>
            <a:ext cx="105833" cy="162984"/>
          </a:xfrm>
          <a:prstGeom prst="rect">
            <a:avLst/>
          </a:prstGeom>
        </p:spPr>
        <p:txBody>
          <a:bodyPr vert="horz" wrap="none" lIns="19051" tIns="0" rIns="19051" bIns="0" numCol="1" spcCol="0" rtlCol="0" anchor="ctr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067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11" name="Plassholder for tekst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989234" y="1792817"/>
            <a:ext cx="241300" cy="162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1" tIns="0" rIns="19051" bIns="0" numCol="1" spcCol="0" rtlCol="0" anchor="b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067" dirty="0">
              <a:solidFill>
                <a:srgbClr val="032A74"/>
              </a:solidFill>
              <a:sym typeface="+mn-lt"/>
            </a:endParaRPr>
          </a:p>
        </p:txBody>
      </p:sp>
      <p:graphicFrame>
        <p:nvGraphicFramePr>
          <p:cNvPr id="4" name="Tabel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2219002"/>
              </p:ext>
            </p:extLst>
          </p:nvPr>
        </p:nvGraphicFramePr>
        <p:xfrm>
          <a:off x="967596" y="1324932"/>
          <a:ext cx="9692498" cy="47103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4556"/>
                <a:gridCol w="1103848"/>
                <a:gridCol w="1172226"/>
                <a:gridCol w="1098830"/>
                <a:gridCol w="1098830"/>
                <a:gridCol w="1194208"/>
              </a:tblGrid>
              <a:tr h="249165">
                <a:tc>
                  <a:txBody>
                    <a:bodyPr/>
                    <a:lstStyle/>
                    <a:p>
                      <a:pPr algn="l" fontAlgn="ctr"/>
                      <a:r>
                        <a:rPr lang="nb-NO" sz="16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onsernregnskap </a:t>
                      </a:r>
                      <a:r>
                        <a:rPr lang="nb-NO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nb-NO" sz="1600" b="0" i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ill</a:t>
                      </a:r>
                      <a:r>
                        <a:rPr lang="nb-NO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r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. </a:t>
                      </a:r>
                      <a:r>
                        <a:rPr lang="nb-NO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v</a:t>
                      </a:r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19</a:t>
                      </a:r>
                      <a:endParaRPr lang="nb-N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. </a:t>
                      </a:r>
                      <a:r>
                        <a:rPr lang="nb-NO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v</a:t>
                      </a:r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19</a:t>
                      </a:r>
                      <a:endParaRPr lang="nb-N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. </a:t>
                      </a:r>
                      <a:r>
                        <a:rPr lang="nb-NO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v</a:t>
                      </a:r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19</a:t>
                      </a:r>
                      <a:endParaRPr lang="nb-N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. </a:t>
                      </a:r>
                      <a:r>
                        <a:rPr lang="nb-NO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v</a:t>
                      </a:r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18</a:t>
                      </a:r>
                      <a:endParaRPr lang="nb-N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. </a:t>
                      </a:r>
                      <a:r>
                        <a:rPr lang="nb-NO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v</a:t>
                      </a:r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 18</a:t>
                      </a:r>
                      <a:endParaRPr lang="nb-N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tto </a:t>
                      </a:r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teinntekt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72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52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45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tto </a:t>
                      </a:r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sjons- og andre inntekt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10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13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99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Netto </a:t>
                      </a:r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resultat fra finansielle eiendel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3 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25 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39 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-10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1374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Fusjon forsikring (</a:t>
                      </a:r>
                      <a:r>
                        <a:rPr lang="nb-NO" sz="1300" b="0" i="0" u="none" strike="noStrike" dirty="0" err="1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Fremtind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 smtClean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 smtClean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72      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err="1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Oppskr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. eiendommer SB1 Forsikring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18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 smtClean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Sum </a:t>
                      </a:r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tto inntekter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285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308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355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Reversering pensjonsforpliktelse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-10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Sum driftskostnader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142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145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esultat </a:t>
                      </a:r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ør tap og skatt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ap </a:t>
                      </a:r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å utlån og garanti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94196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esultat </a:t>
                      </a:r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ør skatt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48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68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5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kattekostnad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</a:t>
                      </a:r>
                      <a:r>
                        <a:rPr lang="nb-NO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36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</a:t>
                      </a:r>
                      <a:r>
                        <a:rPr lang="nb-NO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34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</a:t>
                      </a:r>
                      <a:r>
                        <a:rPr lang="nb-NO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25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396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esultat etter skatt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12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80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257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44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1002086" y="612721"/>
            <a:ext cx="7355490" cy="504754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Driftskostnader</a:t>
            </a:r>
            <a:endParaRPr lang="nb-NO" sz="4000" dirty="0">
              <a:solidFill>
                <a:schemeClr val="accent1"/>
              </a:solidFill>
            </a:endParaRPr>
          </a:p>
        </p:txBody>
      </p:sp>
      <p:sp>
        <p:nvSpPr>
          <p:cNvPr id="2" name="TekstSylinder 1"/>
          <p:cNvSpPr txBox="1"/>
          <p:nvPr/>
        </p:nvSpPr>
        <p:spPr>
          <a:xfrm>
            <a:off x="8610434" y="2640377"/>
            <a:ext cx="3103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 smtClean="0">
                <a:solidFill>
                  <a:schemeClr val="bg1"/>
                </a:solidFill>
              </a:rPr>
              <a:t>Bilde !!!</a:t>
            </a:r>
            <a:endParaRPr lang="nb-NO" dirty="0">
              <a:solidFill>
                <a:schemeClr val="bg1"/>
              </a:solidFill>
            </a:endParaRPr>
          </a:p>
        </p:txBody>
      </p:sp>
      <p:graphicFrame>
        <p:nvGraphicFramePr>
          <p:cNvPr id="3" name="Tabel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6683947"/>
              </p:ext>
            </p:extLst>
          </p:nvPr>
        </p:nvGraphicFramePr>
        <p:xfrm>
          <a:off x="1002086" y="2279486"/>
          <a:ext cx="6023291" cy="3244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7156"/>
                <a:gridCol w="859227"/>
                <a:gridCol w="859227"/>
                <a:gridCol w="859227"/>
                <a:gridCol w="859227"/>
                <a:gridCol w="859227"/>
              </a:tblGrid>
              <a:tr h="264920">
                <a:tc>
                  <a:txBody>
                    <a:bodyPr/>
                    <a:lstStyle/>
                    <a:p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3.  </a:t>
                      </a:r>
                      <a:r>
                        <a:rPr lang="nb-NO" sz="14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. 19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.  </a:t>
                      </a:r>
                      <a:r>
                        <a:rPr lang="nb-NO" sz="14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. 19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1.  </a:t>
                      </a:r>
                      <a:r>
                        <a:rPr lang="nb-NO" sz="14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. 19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4. </a:t>
                      </a:r>
                      <a:r>
                        <a:rPr lang="nb-NO" sz="14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. 18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69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nb-NO" sz="1400" dirty="0" err="1" smtClean="0">
                          <a:solidFill>
                            <a:schemeClr val="tx1"/>
                          </a:solidFill>
                        </a:rPr>
                        <a:t>kv</a:t>
                      </a:r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. 1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Person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77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81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85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98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77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Reversering pensjons-</a:t>
                      </a:r>
                    </a:p>
                    <a:p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forpliktelse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latinLnBrk="0" hangingPunct="1"/>
                      <a:r>
                        <a:rPr lang="nb-NO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10</a:t>
                      </a:r>
                      <a:endParaRPr lang="nb-NO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IT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6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4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6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4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Bygg/drift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Øvrige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1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3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4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21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589">
                <a:tc>
                  <a:txBody>
                    <a:bodyPr/>
                    <a:lstStyle/>
                    <a:p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SUM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135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142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145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149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132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94" r="27085"/>
          <a:stretch/>
        </p:blipFill>
        <p:spPr>
          <a:xfrm>
            <a:off x="8093962" y="0"/>
            <a:ext cx="4136065" cy="6858000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26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45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5857" y="390194"/>
            <a:ext cx="7782176" cy="1608517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Tapsavsetninger – utvikling*</a:t>
            </a:r>
            <a:br>
              <a:rPr lang="nb-NO" sz="4000" b="1" dirty="0" smtClean="0">
                <a:solidFill>
                  <a:schemeClr val="accent1"/>
                </a:solidFill>
              </a:rPr>
            </a:b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sp>
        <p:nvSpPr>
          <p:cNvPr id="12" name="Rektangel 11"/>
          <p:cNvSpPr/>
          <p:nvPr/>
        </p:nvSpPr>
        <p:spPr>
          <a:xfrm>
            <a:off x="8238033" y="2491754"/>
            <a:ext cx="355332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>
              <a:solidFill>
                <a:schemeClr val="bg1"/>
              </a:solidFill>
            </a:endParaRP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867" b="1" dirty="0" smtClean="0">
              <a:solidFill>
                <a:schemeClr val="bg1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chemeClr val="bg1"/>
              </a:solidFill>
            </a:endParaRPr>
          </a:p>
          <a:p>
            <a:pPr marL="474121" lvl="1" indent="-474121" defTabSz="342734">
              <a:spcBef>
                <a:spcPts val="800"/>
              </a:spcBef>
              <a:buClr>
                <a:srgbClr val="CBCBCB"/>
              </a:buClr>
              <a:buFont typeface="Wingdings" panose="05000000000000000000" pitchFamily="2" charset="2"/>
              <a:buChar char="ü"/>
            </a:pPr>
            <a:endParaRPr lang="nb-NO" sz="2133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607851804"/>
              </p:ext>
            </p:extLst>
          </p:nvPr>
        </p:nvGraphicFramePr>
        <p:xfrm>
          <a:off x="455857" y="1427130"/>
          <a:ext cx="7379924" cy="5014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ktangel 11"/>
          <p:cNvSpPr/>
          <p:nvPr/>
        </p:nvSpPr>
        <p:spPr>
          <a:xfrm>
            <a:off x="8328661" y="2491754"/>
            <a:ext cx="3680460" cy="1733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>
                <a:solidFill>
                  <a:schemeClr val="bg1"/>
                </a:solidFill>
              </a:rPr>
              <a:t>*Før tilbakeføring av tapsavsetninger knyttet til utlån til virkelig verdi over utvidet resultat 30.09.19 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2000" dirty="0">
                <a:solidFill>
                  <a:schemeClr val="bg1"/>
                </a:solidFill>
                <a:sym typeface="Wingdings" panose="05000000000000000000" pitchFamily="2" charset="2"/>
              </a:rPr>
              <a:t> 10,4 </a:t>
            </a:r>
            <a:r>
              <a:rPr lang="nb-NO" sz="2000" dirty="0" err="1">
                <a:solidFill>
                  <a:schemeClr val="bg1"/>
                </a:solidFill>
                <a:sym typeface="Wingdings" panose="05000000000000000000" pitchFamily="2" charset="2"/>
              </a:rPr>
              <a:t>mill</a:t>
            </a:r>
            <a:r>
              <a:rPr lang="nb-NO" sz="2000" dirty="0">
                <a:solidFill>
                  <a:schemeClr val="bg1"/>
                </a:solidFill>
                <a:sym typeface="Wingdings" panose="05000000000000000000" pitchFamily="2" charset="2"/>
              </a:rPr>
              <a:t> i trinn 1</a:t>
            </a:r>
            <a:endParaRPr lang="nb-NO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8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7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934">
              <a:spcBef>
                <a:spcPct val="0"/>
              </a:spcBef>
              <a:spcAft>
                <a:spcPct val="0"/>
              </a:spcAft>
            </a:pPr>
            <a:endParaRPr lang="nb-NO" sz="1867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46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5857" y="272161"/>
            <a:ext cx="8172312" cy="1206484"/>
          </a:xfrm>
        </p:spPr>
        <p:txBody>
          <a:bodyPr/>
          <a:lstStyle/>
          <a:p>
            <a:r>
              <a:rPr lang="nb-NO" sz="4000" b="1" dirty="0" smtClean="0">
                <a:solidFill>
                  <a:schemeClr val="accent1"/>
                </a:solidFill>
              </a:rPr>
              <a:t>Utlån</a:t>
            </a:r>
            <a:br>
              <a:rPr lang="nb-NO" sz="4000" b="1" dirty="0" smtClean="0">
                <a:solidFill>
                  <a:schemeClr val="accent1"/>
                </a:solidFill>
              </a:rPr>
            </a:br>
            <a:r>
              <a:rPr lang="nb-NO" sz="4000" b="1" dirty="0" smtClean="0">
                <a:solidFill>
                  <a:schemeClr val="accent1"/>
                </a:solidFill>
              </a:rPr>
              <a:t>Kredittvekst husholdninger </a:t>
            </a:r>
            <a:br>
              <a:rPr lang="nb-NO" sz="4000" b="1" dirty="0" smtClean="0">
                <a:solidFill>
                  <a:schemeClr val="accent1"/>
                </a:solidFill>
              </a:rPr>
            </a:br>
            <a:r>
              <a:rPr lang="nb-NO" sz="1800" b="1" dirty="0" smtClean="0">
                <a:solidFill>
                  <a:schemeClr val="accent1"/>
                </a:solidFill>
              </a:rPr>
              <a:t>12 </a:t>
            </a:r>
            <a:r>
              <a:rPr lang="nb-NO" sz="1800" b="1" dirty="0" err="1" smtClean="0">
                <a:solidFill>
                  <a:schemeClr val="accent1"/>
                </a:solidFill>
              </a:rPr>
              <a:t>mnd</a:t>
            </a:r>
            <a:r>
              <a:rPr lang="nb-NO" sz="1800" b="1" dirty="0" smtClean="0">
                <a:solidFill>
                  <a:schemeClr val="accent1"/>
                </a:solidFill>
              </a:rPr>
              <a:t> vekst</a:t>
            </a:r>
            <a:endParaRPr lang="nb-NO" sz="1800" b="1" dirty="0">
              <a:solidFill>
                <a:schemeClr val="accent1"/>
              </a:solidFill>
            </a:endParaRPr>
          </a:p>
        </p:txBody>
      </p:sp>
      <p:sp>
        <p:nvSpPr>
          <p:cNvPr id="12" name="Plassholder for tekst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071284" y="5846234"/>
            <a:ext cx="499533" cy="283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867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24" name="Rektangel 11"/>
          <p:cNvSpPr/>
          <p:nvPr/>
        </p:nvSpPr>
        <p:spPr>
          <a:xfrm>
            <a:off x="8351573" y="2963283"/>
            <a:ext cx="3840427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400" b="1" dirty="0" smtClean="0">
                <a:solidFill>
                  <a:srgbClr val="FFFFFF"/>
                </a:solidFill>
              </a:rPr>
              <a:t>Definisjoner: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400" b="1" dirty="0" smtClean="0">
                <a:solidFill>
                  <a:srgbClr val="FFFFFF"/>
                </a:solidFill>
              </a:rPr>
              <a:t>Sparebank 1 BV – PM utlån </a:t>
            </a:r>
            <a:r>
              <a:rPr lang="nb-NO" sz="1400" b="1" dirty="0" err="1" smtClean="0">
                <a:solidFill>
                  <a:srgbClr val="FFFFFF"/>
                </a:solidFill>
              </a:rPr>
              <a:t>inkl</a:t>
            </a:r>
            <a:r>
              <a:rPr lang="nb-NO" sz="1400" b="1" dirty="0" smtClean="0">
                <a:solidFill>
                  <a:srgbClr val="FFFFFF"/>
                </a:solidFill>
              </a:rPr>
              <a:t> kredittforetak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r>
              <a:rPr lang="nb-NO" sz="1400" b="1" dirty="0" smtClean="0">
                <a:solidFill>
                  <a:srgbClr val="FFFFFF"/>
                </a:solidFill>
              </a:rPr>
              <a:t>Norge – K2 Husholdninger</a:t>
            </a:r>
          </a:p>
          <a:p>
            <a:pPr marL="0" lvl="1" defTabSz="342734">
              <a:spcBef>
                <a:spcPts val="800"/>
              </a:spcBef>
              <a:buClr>
                <a:srgbClr val="CBCBCB"/>
              </a:buClr>
            </a:pPr>
            <a:endParaRPr lang="nb-NO" sz="1400" b="1" dirty="0">
              <a:solidFill>
                <a:srgbClr val="FFFFFF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197286383"/>
              </p:ext>
            </p:extLst>
          </p:nvPr>
        </p:nvGraphicFramePr>
        <p:xfrm>
          <a:off x="321803" y="1615440"/>
          <a:ext cx="7382017" cy="4701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653316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7914" y="0"/>
            <a:ext cx="4572000" cy="6858000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47</a:t>
            </a:fld>
            <a:endParaRPr lang="nb-NO" dirty="0">
              <a:solidFill>
                <a:srgbClr val="032A74"/>
              </a:solidFill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598372" y="447120"/>
            <a:ext cx="7042941" cy="605679"/>
          </a:xfrm>
        </p:spPr>
        <p:txBody>
          <a:bodyPr/>
          <a:lstStyle/>
          <a:p>
            <a:r>
              <a:rPr lang="nb-NO" sz="4800" b="1" dirty="0" err="1" smtClean="0">
                <a:solidFill>
                  <a:schemeClr val="accent1"/>
                </a:solidFill>
              </a:rPr>
              <a:t>Fundingforfall</a:t>
            </a:r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664" y="6394613"/>
            <a:ext cx="1710339" cy="490771"/>
          </a:xfrm>
          <a:prstGeom prst="rect">
            <a:avLst/>
          </a:prstGeom>
        </p:spPr>
      </p:pic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531152714"/>
              </p:ext>
            </p:extLst>
          </p:nvPr>
        </p:nvGraphicFramePr>
        <p:xfrm>
          <a:off x="455857" y="1052799"/>
          <a:ext cx="7723276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778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497001" y="167532"/>
            <a:ext cx="10629499" cy="605679"/>
          </a:xfrm>
        </p:spPr>
        <p:txBody>
          <a:bodyPr/>
          <a:lstStyle/>
          <a:p>
            <a:r>
              <a:rPr lang="nb-NO" sz="4800" b="1" dirty="0" smtClean="0">
                <a:solidFill>
                  <a:schemeClr val="accent1"/>
                </a:solidFill>
              </a:rPr>
              <a:t>Nøkkeltall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01E8D-3954-49BF-B323-1BBC34257365}" type="datetime1">
              <a:rPr lang="nb-NO" smtClean="0">
                <a:solidFill>
                  <a:srgbClr val="032A74"/>
                </a:solidFill>
              </a:rPr>
              <a:pPr/>
              <a:t>14.01.2020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48</a:t>
            </a:fld>
            <a:endParaRPr lang="nb-NO" dirty="0">
              <a:solidFill>
                <a:srgbClr val="032A74"/>
              </a:solidFill>
            </a:endParaRPr>
          </a:p>
        </p:txBody>
      </p:sp>
      <p:graphicFrame>
        <p:nvGraphicFramePr>
          <p:cNvPr id="7" name="Tabell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9404642"/>
              </p:ext>
            </p:extLst>
          </p:nvPr>
        </p:nvGraphicFramePr>
        <p:xfrm>
          <a:off x="1179641" y="773211"/>
          <a:ext cx="9129366" cy="5528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1296"/>
                <a:gridCol w="953146"/>
                <a:gridCol w="1007390"/>
                <a:gridCol w="1038386"/>
                <a:gridCol w="1038387"/>
                <a:gridCol w="930761"/>
              </a:tblGrid>
              <a:tr h="375037">
                <a:tc>
                  <a:txBody>
                    <a:bodyPr/>
                    <a:lstStyle/>
                    <a:p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3. </a:t>
                      </a:r>
                      <a:r>
                        <a:rPr lang="nb-NO" sz="1600" dirty="0" err="1" smtClean="0"/>
                        <a:t>kv</a:t>
                      </a:r>
                      <a:r>
                        <a:rPr lang="nb-NO" sz="1600" dirty="0" smtClean="0"/>
                        <a:t> 19</a:t>
                      </a:r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600" b="1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. kv 19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600" b="1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 kv 19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600" b="1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. kv 18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600" b="1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. kv 18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/>
                </a:tc>
              </a:tr>
              <a:tr h="426637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Egenkapitalavkastning</a:t>
                      </a:r>
                      <a:r>
                        <a:rPr lang="nb-NO" sz="1400" baseline="0" dirty="0" smtClean="0"/>
                        <a:t> etter skatt (%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9,3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9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Rentenetto (%)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1,76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1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9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5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Utlån</a:t>
                      </a:r>
                      <a:r>
                        <a:rPr lang="nb-NO" sz="1400" baseline="0" dirty="0" smtClean="0"/>
                        <a:t> i trinn 3 i % av brutto utlån </a:t>
                      </a:r>
                      <a:r>
                        <a:rPr lang="nb-NO" sz="1400" baseline="0" dirty="0" err="1" smtClean="0"/>
                        <a:t>inkl</a:t>
                      </a:r>
                      <a:r>
                        <a:rPr lang="nb-NO" sz="1400" baseline="0" dirty="0" smtClean="0"/>
                        <a:t> kredittforetak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0,60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Utlånsvekst (%),</a:t>
                      </a:r>
                      <a:r>
                        <a:rPr lang="nb-NO" sz="1400" baseline="0" dirty="0" smtClean="0"/>
                        <a:t> </a:t>
                      </a:r>
                      <a:r>
                        <a:rPr lang="nb-NO" sz="1400" baseline="0" dirty="0" err="1" smtClean="0"/>
                        <a:t>inkl</a:t>
                      </a:r>
                      <a:r>
                        <a:rPr lang="nb-NO" sz="1400" baseline="0" dirty="0" smtClean="0"/>
                        <a:t> kredittforetak, siste 12 </a:t>
                      </a:r>
                      <a:r>
                        <a:rPr lang="nb-NO" sz="1400" baseline="0" dirty="0" err="1" smtClean="0"/>
                        <a:t>mnd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4,3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Innskuddsvekst</a:t>
                      </a:r>
                      <a:r>
                        <a:rPr lang="nb-NO" sz="1400" baseline="0" dirty="0" smtClean="0"/>
                        <a:t> (%), siste 12 </a:t>
                      </a:r>
                      <a:r>
                        <a:rPr lang="nb-NO" sz="1400" baseline="0" dirty="0" err="1" smtClean="0"/>
                        <a:t>mnd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12,3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Forretningskapital</a:t>
                      </a:r>
                      <a:r>
                        <a:rPr lang="nb-NO" sz="1400" baseline="0" dirty="0" smtClean="0"/>
                        <a:t> (</a:t>
                      </a:r>
                      <a:r>
                        <a:rPr lang="nb-NO" sz="1400" baseline="0" dirty="0" err="1" smtClean="0"/>
                        <a:t>mrd</a:t>
                      </a:r>
                      <a:r>
                        <a:rPr lang="nb-NO" sz="1400" baseline="0" dirty="0" smtClean="0"/>
                        <a:t> kr)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51,3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4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6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9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Utlånsportefølje i kredittforetak (</a:t>
                      </a:r>
                      <a:r>
                        <a:rPr lang="nb-NO" sz="1400" dirty="0" err="1" smtClean="0"/>
                        <a:t>mrd</a:t>
                      </a:r>
                      <a:r>
                        <a:rPr lang="nb-NO" sz="1400" dirty="0" smtClean="0"/>
                        <a:t> kr)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12,6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3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Risikovektet balanse (</a:t>
                      </a:r>
                      <a:r>
                        <a:rPr lang="nb-NO" sz="1400" dirty="0" err="1" smtClean="0"/>
                        <a:t>mrd</a:t>
                      </a:r>
                      <a:r>
                        <a:rPr lang="nb-NO" sz="1400" dirty="0" smtClean="0"/>
                        <a:t> kr)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26,5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5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7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9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7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err="1" smtClean="0"/>
                        <a:t>Leverage</a:t>
                      </a:r>
                      <a:r>
                        <a:rPr lang="nb-NO" sz="1400" dirty="0" smtClean="0"/>
                        <a:t> Ratio (%)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,4</a:t>
                      </a:r>
                      <a:endParaRPr lang="nb-NO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,2</a:t>
                      </a:r>
                      <a:endParaRPr lang="nb-NO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,1</a:t>
                      </a:r>
                      <a:endParaRPr lang="nb-NO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,2</a:t>
                      </a:r>
                      <a:endParaRPr lang="nb-NO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6979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,1</a:t>
                      </a:r>
                      <a:endParaRPr lang="nb-NO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LCR (%)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199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21792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Resultat</a:t>
                      </a:r>
                      <a:r>
                        <a:rPr lang="nb-NO" sz="1400" baseline="0" dirty="0" smtClean="0"/>
                        <a:t> pr egenkapitalbevis (kr, morbank)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0,82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6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9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8870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Bokført egenkapital pr egenkapitalbevis (kr, morbank)</a:t>
                      </a:r>
                      <a:endParaRPr lang="nb-N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400" b="1" dirty="0" smtClean="0">
                          <a:solidFill>
                            <a:schemeClr val="tx1"/>
                          </a:solidFill>
                        </a:rPr>
                        <a:t>41,2</a:t>
                      </a:r>
                      <a:endParaRPr lang="nb-NO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4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7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7</a:t>
                      </a:r>
                      <a:endParaRPr lang="nb-NO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</a:t>
                      </a:r>
                      <a:endParaRPr lang="nb-NO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5258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02960" y="687744"/>
            <a:ext cx="11514428" cy="555217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Positiv netto innflytting Vestfold og Buskerud</a:t>
            </a:r>
            <a:endParaRPr lang="nb-NO" sz="4400" dirty="0">
              <a:solidFill>
                <a:schemeClr val="accent1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5</a:t>
            </a:fld>
            <a:endParaRPr lang="nb-NO">
              <a:solidFill>
                <a:srgbClr val="032A74"/>
              </a:solidFill>
            </a:endParaRPr>
          </a:p>
        </p:txBody>
      </p:sp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5393780"/>
              </p:ext>
            </p:extLst>
          </p:nvPr>
        </p:nvGraphicFramePr>
        <p:xfrm>
          <a:off x="952500" y="1412081"/>
          <a:ext cx="10287000" cy="403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62844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4237" y="4674769"/>
            <a:ext cx="3596050" cy="2050872"/>
          </a:xfrm>
          <a:prstGeom prst="rect">
            <a:avLst/>
          </a:prstGeom>
        </p:spPr>
      </p:pic>
      <p:sp>
        <p:nvSpPr>
          <p:cNvPr id="5" name="Ellipse 27"/>
          <p:cNvSpPr>
            <a:spLocks noChangeArrowheads="1"/>
          </p:cNvSpPr>
          <p:nvPr/>
        </p:nvSpPr>
        <p:spPr bwMode="auto">
          <a:xfrm>
            <a:off x="3291162" y="690664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>
            <a:defPPr>
              <a:defRPr lang="nb-NO"/>
            </a:defPPr>
            <a:lvl1pPr marL="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Inntekter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 smtClean="0">
                <a:solidFill>
                  <a:srgbClr val="FFFFFF"/>
                </a:solidFill>
                <a:cs typeface="Times New Roman" panose="02020603050405020304" pitchFamily="18" charset="0"/>
              </a:rPr>
              <a:t>1,2 </a:t>
            </a:r>
            <a:r>
              <a:rPr lang="nb-NO" altLang="en-US" sz="1467" dirty="0" err="1" smtClean="0">
                <a:solidFill>
                  <a:srgbClr val="FFFFFF"/>
                </a:solidFill>
                <a:cs typeface="Times New Roman" panose="02020603050405020304" pitchFamily="18" charset="0"/>
              </a:rPr>
              <a:t>mrd</a:t>
            </a:r>
            <a:endParaRPr lang="nb-NO" altLang="en-US" sz="1467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" name="Ellipse 30"/>
          <p:cNvSpPr>
            <a:spLocks noChangeArrowheads="1"/>
          </p:cNvSpPr>
          <p:nvPr/>
        </p:nvSpPr>
        <p:spPr bwMode="auto">
          <a:xfrm>
            <a:off x="1817652" y="3122834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nsatte </a:t>
            </a:r>
            <a:r>
              <a:rPr lang="nb-NO" altLang="en-US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ilfredshet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75</a:t>
            </a:r>
            <a:endParaRPr lang="nb-NO" altLang="en-US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Ellipse 30"/>
          <p:cNvSpPr>
            <a:spLocks noChangeArrowheads="1"/>
          </p:cNvSpPr>
          <p:nvPr/>
        </p:nvSpPr>
        <p:spPr bwMode="auto">
          <a:xfrm>
            <a:off x="3295186" y="4025877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n kjerne-kapital</a:t>
            </a:r>
            <a:endParaRPr lang="en-GB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5,5 </a:t>
            </a: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endParaRPr lang="nb-NO" altLang="en-US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Ellipse 30"/>
          <p:cNvSpPr>
            <a:spLocks noChangeArrowheads="1"/>
          </p:cNvSpPr>
          <p:nvPr/>
        </p:nvSpPr>
        <p:spPr bwMode="auto">
          <a:xfrm>
            <a:off x="4761420" y="3122834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 err="1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Jaws</a:t>
            </a: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in. </a:t>
            </a:r>
            <a:r>
              <a:rPr lang="nb-NO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4 %</a:t>
            </a:r>
            <a:endParaRPr lang="nb-NO" altLang="en-US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Ellipse 30"/>
          <p:cNvSpPr>
            <a:spLocks noChangeArrowheads="1"/>
          </p:cNvSpPr>
          <p:nvPr/>
        </p:nvSpPr>
        <p:spPr bwMode="auto">
          <a:xfrm>
            <a:off x="4820954" y="1519178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K-avkastning</a:t>
            </a:r>
            <a:endParaRPr lang="en-GB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0 %</a:t>
            </a:r>
            <a:endParaRPr lang="nb-NO" altLang="en-US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Bindepunkt 9"/>
          <p:cNvSpPr/>
          <p:nvPr/>
        </p:nvSpPr>
        <p:spPr>
          <a:xfrm>
            <a:off x="1507572" y="4046006"/>
            <a:ext cx="786124" cy="729436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 smtClean="0">
                <a:solidFill>
                  <a:schemeClr val="accent1"/>
                </a:solidFill>
              </a:rPr>
              <a:t>78</a:t>
            </a:r>
            <a:endParaRPr lang="nb-NO" sz="1333" b="1" dirty="0">
              <a:solidFill>
                <a:schemeClr val="accent1"/>
              </a:solidFill>
            </a:endParaRPr>
          </a:p>
        </p:txBody>
      </p:sp>
      <p:sp>
        <p:nvSpPr>
          <p:cNvPr id="12" name="Ellipse 30"/>
          <p:cNvSpPr>
            <a:spLocks noChangeArrowheads="1"/>
          </p:cNvSpPr>
          <p:nvPr/>
        </p:nvSpPr>
        <p:spPr bwMode="auto">
          <a:xfrm>
            <a:off x="1843641" y="1472121"/>
            <a:ext cx="1439333" cy="1439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Kunde-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ilfredshet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467" dirty="0" smtClean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70</a:t>
            </a:r>
            <a:endParaRPr lang="en-GB" sz="1467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Ellipse 27"/>
          <p:cNvSpPr>
            <a:spLocks noChangeArrowheads="1"/>
          </p:cNvSpPr>
          <p:nvPr/>
        </p:nvSpPr>
        <p:spPr bwMode="auto">
          <a:xfrm>
            <a:off x="3328204" y="2191788"/>
            <a:ext cx="1439333" cy="1439333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48000" tIns="0" rIns="48000" bIns="0" numCol="1" anchor="ctr" anchorCtr="0" compatLnSpc="1">
            <a:prstTxWarp prst="textNoShape">
              <a:avLst/>
            </a:prstTxWarp>
          </a:bodyPr>
          <a:lstStyle>
            <a:defPPr>
              <a:defRPr lang="nb-NO"/>
            </a:defPPr>
            <a:lvl1pPr marL="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sultat 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en-US" sz="2133" b="1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500 </a:t>
            </a:r>
            <a:r>
              <a:rPr lang="nb-NO" altLang="en-US" sz="2133" b="1" dirty="0" err="1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ill</a:t>
            </a:r>
            <a:r>
              <a:rPr lang="nb-NO" altLang="en-US" sz="2133" b="1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b-NO" altLang="en-US" sz="1467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tter skatt</a:t>
            </a:r>
          </a:p>
        </p:txBody>
      </p:sp>
      <p:sp>
        <p:nvSpPr>
          <p:cNvPr id="14" name="Bindepunkt 13"/>
          <p:cNvSpPr/>
          <p:nvPr/>
        </p:nvSpPr>
        <p:spPr>
          <a:xfrm>
            <a:off x="5732561" y="4046006"/>
            <a:ext cx="874821" cy="800293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 smtClean="0">
                <a:solidFill>
                  <a:srgbClr val="135EA0"/>
                </a:solidFill>
              </a:rPr>
              <a:t>2,7 %</a:t>
            </a:r>
            <a:endParaRPr lang="nb-NO" sz="1333" b="1" dirty="0">
              <a:solidFill>
                <a:srgbClr val="135EA0"/>
              </a:solidFill>
            </a:endParaRPr>
          </a:p>
        </p:txBody>
      </p:sp>
      <p:sp>
        <p:nvSpPr>
          <p:cNvPr id="15" name="Bindepunkt 14"/>
          <p:cNvSpPr/>
          <p:nvPr/>
        </p:nvSpPr>
        <p:spPr>
          <a:xfrm>
            <a:off x="6082089" y="2257165"/>
            <a:ext cx="919602" cy="800293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 smtClean="0">
                <a:solidFill>
                  <a:schemeClr val="accent1"/>
                </a:solidFill>
              </a:rPr>
              <a:t>12,1 %</a:t>
            </a:r>
            <a:endParaRPr lang="nb-NO" sz="1333" b="1" dirty="0">
              <a:solidFill>
                <a:schemeClr val="accent1"/>
              </a:solidFill>
            </a:endParaRPr>
          </a:p>
        </p:txBody>
      </p:sp>
      <p:sp>
        <p:nvSpPr>
          <p:cNvPr id="16" name="Bindepunkt 15"/>
          <p:cNvSpPr/>
          <p:nvPr/>
        </p:nvSpPr>
        <p:spPr>
          <a:xfrm>
            <a:off x="3543330" y="5212270"/>
            <a:ext cx="934995" cy="731083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 smtClean="0">
                <a:solidFill>
                  <a:srgbClr val="135EA0"/>
                </a:solidFill>
              </a:rPr>
              <a:t>16,9 %</a:t>
            </a:r>
            <a:endParaRPr lang="nb-NO" sz="1333" b="1" dirty="0">
              <a:solidFill>
                <a:srgbClr val="135EA0"/>
              </a:solidFill>
            </a:endParaRPr>
          </a:p>
        </p:txBody>
      </p:sp>
      <p:sp>
        <p:nvSpPr>
          <p:cNvPr id="17" name="Bindepunkt 16"/>
          <p:cNvSpPr/>
          <p:nvPr/>
        </p:nvSpPr>
        <p:spPr>
          <a:xfrm>
            <a:off x="1306486" y="2197411"/>
            <a:ext cx="810822" cy="800293"/>
          </a:xfrm>
          <a:prstGeom prst="flowChartConnector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333" b="1" dirty="0" smtClean="0">
                <a:solidFill>
                  <a:schemeClr val="accent1"/>
                </a:solidFill>
              </a:rPr>
              <a:t>67</a:t>
            </a:r>
          </a:p>
        </p:txBody>
      </p:sp>
      <p:sp>
        <p:nvSpPr>
          <p:cNvPr id="24" name="Rektangel 23"/>
          <p:cNvSpPr/>
          <p:nvPr/>
        </p:nvSpPr>
        <p:spPr>
          <a:xfrm>
            <a:off x="8298788" y="437461"/>
            <a:ext cx="409200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3600" b="1" dirty="0">
                <a:solidFill>
                  <a:schemeClr val="accent1"/>
                </a:solidFill>
              </a:rPr>
              <a:t>Oppnådd </a:t>
            </a:r>
            <a:r>
              <a:rPr lang="nb-NO" sz="3600" b="1" dirty="0" smtClean="0">
                <a:solidFill>
                  <a:schemeClr val="accent1"/>
                </a:solidFill>
              </a:rPr>
              <a:t>30.09.2019 mot </a:t>
            </a:r>
          </a:p>
          <a:p>
            <a:r>
              <a:rPr lang="nb-NO" sz="3600" b="1" dirty="0" err="1" smtClean="0">
                <a:solidFill>
                  <a:schemeClr val="accent1"/>
                </a:solidFill>
              </a:rPr>
              <a:t>målbilde</a:t>
            </a:r>
            <a:r>
              <a:rPr lang="nb-NO" sz="3600" b="1" dirty="0" smtClean="0">
                <a:solidFill>
                  <a:schemeClr val="accent1"/>
                </a:solidFill>
              </a:rPr>
              <a:t> 2020</a:t>
            </a:r>
            <a:endParaRPr lang="nb-NO" sz="3600" dirty="0">
              <a:solidFill>
                <a:schemeClr val="accent1"/>
              </a:solidFill>
            </a:endParaRPr>
          </a:p>
        </p:txBody>
      </p:sp>
      <p:pic>
        <p:nvPicPr>
          <p:cNvPr id="22" name="Bilde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792" y="6307991"/>
            <a:ext cx="1847213" cy="530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86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02960" y="416046"/>
            <a:ext cx="11514428" cy="1083374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Godt resultat fra  kjernevirksomheten 3. kvartal 2019</a:t>
            </a:r>
            <a:endParaRPr lang="nb-NO" sz="4400" dirty="0">
              <a:solidFill>
                <a:schemeClr val="accent1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364963" y="1483526"/>
            <a:ext cx="10748660" cy="433288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2000" b="1" dirty="0" smtClean="0">
                <a:solidFill>
                  <a:schemeClr val="accent1"/>
                </a:solidFill>
              </a:rPr>
              <a:t> </a:t>
            </a:r>
            <a:r>
              <a:rPr lang="nb-NO" sz="2000" b="1" i="1" dirty="0" smtClean="0">
                <a:solidFill>
                  <a:srgbClr val="135EA0"/>
                </a:solidFill>
              </a:rPr>
              <a:t>Resultat :</a:t>
            </a:r>
            <a:r>
              <a:rPr lang="nb-NO" sz="2000" b="1" dirty="0" smtClean="0">
                <a:solidFill>
                  <a:srgbClr val="135EA0"/>
                </a:solidFill>
              </a:rPr>
              <a:t>  </a:t>
            </a:r>
          </a:p>
          <a:p>
            <a:r>
              <a:rPr lang="nb-NO" sz="1800" dirty="0">
                <a:solidFill>
                  <a:srgbClr val="135EA0"/>
                </a:solidFill>
              </a:rPr>
              <a:t>R</a:t>
            </a:r>
            <a:r>
              <a:rPr lang="nb-NO" sz="1800" dirty="0" smtClean="0">
                <a:solidFill>
                  <a:srgbClr val="135EA0"/>
                </a:solidFill>
              </a:rPr>
              <a:t>esultat på 112 </a:t>
            </a:r>
            <a:r>
              <a:rPr lang="nb-NO" sz="1800" dirty="0" err="1" smtClean="0">
                <a:solidFill>
                  <a:srgbClr val="135EA0"/>
                </a:solidFill>
              </a:rPr>
              <a:t>mill</a:t>
            </a:r>
            <a:r>
              <a:rPr lang="nb-NO" sz="1800" dirty="0" smtClean="0">
                <a:solidFill>
                  <a:srgbClr val="135EA0"/>
                </a:solidFill>
              </a:rPr>
              <a:t> etter skatt (127 </a:t>
            </a:r>
            <a:r>
              <a:rPr lang="nb-NO" sz="1800" dirty="0" err="1" smtClean="0">
                <a:solidFill>
                  <a:srgbClr val="135EA0"/>
                </a:solidFill>
              </a:rPr>
              <a:t>mill</a:t>
            </a:r>
            <a:r>
              <a:rPr lang="nb-NO" sz="1800" dirty="0" smtClean="0">
                <a:solidFill>
                  <a:srgbClr val="135EA0"/>
                </a:solidFill>
              </a:rPr>
              <a:t>). </a:t>
            </a:r>
          </a:p>
          <a:p>
            <a:r>
              <a:rPr lang="nb-NO" sz="1800" dirty="0" smtClean="0">
                <a:solidFill>
                  <a:srgbClr val="135EA0"/>
                </a:solidFill>
              </a:rPr>
              <a:t>Vesentlig forbedret </a:t>
            </a:r>
            <a:r>
              <a:rPr lang="nb-NO" sz="1800" dirty="0" smtClean="0">
                <a:solidFill>
                  <a:schemeClr val="accent1"/>
                </a:solidFill>
              </a:rPr>
              <a:t>marginbilde (Renteendring i mai og august)</a:t>
            </a:r>
          </a:p>
          <a:p>
            <a:r>
              <a:rPr lang="nb-NO" sz="1800" dirty="0" smtClean="0">
                <a:solidFill>
                  <a:schemeClr val="accent1"/>
                </a:solidFill>
              </a:rPr>
              <a:t>Stabile driftskostnader</a:t>
            </a:r>
          </a:p>
          <a:p>
            <a:r>
              <a:rPr lang="nb-NO" sz="1800" dirty="0" smtClean="0">
                <a:solidFill>
                  <a:schemeClr val="accent1"/>
                </a:solidFill>
              </a:rPr>
              <a:t>Lave tap</a:t>
            </a:r>
          </a:p>
          <a:p>
            <a:pPr marL="0" indent="0">
              <a:buNone/>
            </a:pPr>
            <a:endParaRPr lang="nb-NO" sz="1800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nb-NO" sz="2000" b="1" i="1" dirty="0" smtClean="0">
                <a:solidFill>
                  <a:srgbClr val="135EA0"/>
                </a:solidFill>
              </a:rPr>
              <a:t>Vekst og balanse</a:t>
            </a:r>
            <a:r>
              <a:rPr lang="nb-NO" sz="2000" b="1" dirty="0" smtClean="0">
                <a:solidFill>
                  <a:srgbClr val="135EA0"/>
                </a:solidFill>
              </a:rPr>
              <a:t>: </a:t>
            </a:r>
          </a:p>
          <a:p>
            <a:r>
              <a:rPr lang="nb-NO" sz="1800" dirty="0" smtClean="0">
                <a:solidFill>
                  <a:srgbClr val="135EA0"/>
                </a:solidFill>
              </a:rPr>
              <a:t>Utlånsvekst siste kvartal på 1,2 %, 504 </a:t>
            </a:r>
            <a:r>
              <a:rPr lang="nb-NO" sz="1800" dirty="0" err="1" smtClean="0">
                <a:solidFill>
                  <a:srgbClr val="135EA0"/>
                </a:solidFill>
              </a:rPr>
              <a:t>mill</a:t>
            </a:r>
            <a:endParaRPr lang="nb-NO" sz="1800" dirty="0" smtClean="0">
              <a:solidFill>
                <a:srgbClr val="135EA0"/>
              </a:solidFill>
            </a:endParaRPr>
          </a:p>
          <a:p>
            <a:pPr lvl="1"/>
            <a:r>
              <a:rPr lang="nb-NO" sz="1400" dirty="0" smtClean="0">
                <a:solidFill>
                  <a:schemeClr val="accent1"/>
                </a:solidFill>
              </a:rPr>
              <a:t>PM 0,2 % og BM 5,9 %</a:t>
            </a:r>
          </a:p>
          <a:p>
            <a:r>
              <a:rPr lang="nb-NO" sz="1800" dirty="0" smtClean="0">
                <a:solidFill>
                  <a:srgbClr val="135EA0"/>
                </a:solidFill>
              </a:rPr>
              <a:t>Innskuddsvekst siste kvartal -0,8 % , -208 </a:t>
            </a:r>
            <a:r>
              <a:rPr lang="nb-NO" sz="1800" dirty="0" err="1" smtClean="0">
                <a:solidFill>
                  <a:srgbClr val="135EA0"/>
                </a:solidFill>
              </a:rPr>
              <a:t>mill</a:t>
            </a:r>
            <a:r>
              <a:rPr lang="nb-NO" sz="1800" dirty="0" smtClean="0">
                <a:solidFill>
                  <a:srgbClr val="135EA0"/>
                </a:solidFill>
              </a:rPr>
              <a:t> </a:t>
            </a:r>
          </a:p>
          <a:p>
            <a:pPr lvl="1"/>
            <a:r>
              <a:rPr lang="nb-NO" sz="1400" dirty="0" smtClean="0">
                <a:solidFill>
                  <a:srgbClr val="135EA0"/>
                </a:solidFill>
              </a:rPr>
              <a:t>PM -0,7 % og BM -1,1 %</a:t>
            </a:r>
            <a:endParaRPr lang="nb-NO" sz="18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nb-NO" sz="2000" b="1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nb-NO" sz="2000" b="1" i="1" dirty="0" smtClean="0">
                <a:solidFill>
                  <a:srgbClr val="135EA0"/>
                </a:solidFill>
              </a:rPr>
              <a:t>Rentabilitet: </a:t>
            </a:r>
          </a:p>
          <a:p>
            <a:r>
              <a:rPr lang="nb-NO" sz="1800" dirty="0" smtClean="0">
                <a:solidFill>
                  <a:srgbClr val="135EA0"/>
                </a:solidFill>
              </a:rPr>
              <a:t>Egenkapitalavkastning 9,3 % (11,3 %)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7</a:t>
            </a:fld>
            <a:endParaRPr lang="nb-NO">
              <a:solidFill>
                <a:srgbClr val="032A74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782" y="1331135"/>
            <a:ext cx="914356" cy="914356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820" y="4948268"/>
            <a:ext cx="941330" cy="94133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71" y="3086256"/>
            <a:ext cx="913625" cy="91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89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7572" y="0"/>
            <a:ext cx="11514428" cy="555217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Godt resultat og god soliditet pr 30.09.19</a:t>
            </a:r>
            <a:endParaRPr lang="nb-NO" sz="4400" dirty="0">
              <a:solidFill>
                <a:schemeClr val="accent1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289361" y="514626"/>
            <a:ext cx="10410088" cy="634337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2000" b="1" dirty="0" smtClean="0">
                <a:solidFill>
                  <a:schemeClr val="accent1"/>
                </a:solidFill>
              </a:rPr>
              <a:t> </a:t>
            </a:r>
            <a:r>
              <a:rPr lang="nb-NO" sz="2000" b="1" i="1" dirty="0" smtClean="0">
                <a:solidFill>
                  <a:schemeClr val="accent1"/>
                </a:solidFill>
              </a:rPr>
              <a:t>Resultat :</a:t>
            </a:r>
            <a:r>
              <a:rPr lang="nb-NO" sz="2000" b="1" dirty="0" smtClean="0">
                <a:solidFill>
                  <a:schemeClr val="accent1"/>
                </a:solidFill>
              </a:rPr>
              <a:t>  </a:t>
            </a:r>
          </a:p>
          <a:p>
            <a:r>
              <a:rPr lang="nb-NO" sz="1800" dirty="0" smtClean="0">
                <a:solidFill>
                  <a:schemeClr val="accent1"/>
                </a:solidFill>
              </a:rPr>
              <a:t>Resultat etter skatt på 426 </a:t>
            </a:r>
            <a:r>
              <a:rPr lang="nb-NO" sz="1800" dirty="0" err="1" smtClean="0">
                <a:solidFill>
                  <a:schemeClr val="accent1"/>
                </a:solidFill>
              </a:rPr>
              <a:t>mill</a:t>
            </a:r>
            <a:r>
              <a:rPr lang="nb-NO" sz="1800" dirty="0" smtClean="0">
                <a:solidFill>
                  <a:schemeClr val="accent1"/>
                </a:solidFill>
              </a:rPr>
              <a:t> (511 </a:t>
            </a:r>
            <a:r>
              <a:rPr lang="nb-NO" sz="1800" dirty="0" err="1" smtClean="0">
                <a:solidFill>
                  <a:schemeClr val="accent1"/>
                </a:solidFill>
              </a:rPr>
              <a:t>mill</a:t>
            </a:r>
            <a:r>
              <a:rPr lang="nb-NO" sz="1800" dirty="0" smtClean="0">
                <a:solidFill>
                  <a:schemeClr val="accent1"/>
                </a:solidFill>
              </a:rPr>
              <a:t>)</a:t>
            </a:r>
          </a:p>
          <a:p>
            <a:pPr lvl="1"/>
            <a:r>
              <a:rPr lang="nb-NO" sz="1400" dirty="0" smtClean="0">
                <a:solidFill>
                  <a:schemeClr val="accent1"/>
                </a:solidFill>
              </a:rPr>
              <a:t>Engangsposter </a:t>
            </a:r>
            <a:r>
              <a:rPr lang="nb-NO" sz="1400" dirty="0">
                <a:solidFill>
                  <a:schemeClr val="accent1"/>
                </a:solidFill>
              </a:rPr>
              <a:t>2019: Fusjon forsikring (72 </a:t>
            </a:r>
            <a:r>
              <a:rPr lang="nb-NO" sz="1400" dirty="0" err="1">
                <a:solidFill>
                  <a:schemeClr val="accent1"/>
                </a:solidFill>
              </a:rPr>
              <a:t>mill</a:t>
            </a:r>
            <a:r>
              <a:rPr lang="nb-NO" sz="1400" dirty="0">
                <a:solidFill>
                  <a:schemeClr val="accent1"/>
                </a:solidFill>
              </a:rPr>
              <a:t>) 2018: Salg av eiendom (91 </a:t>
            </a:r>
            <a:r>
              <a:rPr lang="nb-NO" sz="1400" dirty="0" err="1">
                <a:solidFill>
                  <a:schemeClr val="accent1"/>
                </a:solidFill>
              </a:rPr>
              <a:t>mill</a:t>
            </a:r>
            <a:r>
              <a:rPr lang="nb-NO" sz="1400" dirty="0">
                <a:solidFill>
                  <a:schemeClr val="accent1"/>
                </a:solidFill>
              </a:rPr>
              <a:t>) og reversering pensjonsforpliktelse (92 </a:t>
            </a:r>
            <a:r>
              <a:rPr lang="nb-NO" sz="1400" dirty="0" err="1">
                <a:solidFill>
                  <a:schemeClr val="accent1"/>
                </a:solidFill>
              </a:rPr>
              <a:t>mill</a:t>
            </a:r>
            <a:r>
              <a:rPr lang="nb-NO" sz="1400" dirty="0" smtClean="0">
                <a:solidFill>
                  <a:schemeClr val="accent1"/>
                </a:solidFill>
              </a:rPr>
              <a:t>)</a:t>
            </a:r>
          </a:p>
          <a:p>
            <a:r>
              <a:rPr lang="nb-NO" sz="1800" dirty="0" smtClean="0">
                <a:solidFill>
                  <a:schemeClr val="accent1"/>
                </a:solidFill>
              </a:rPr>
              <a:t>Stabil margin; 1,65 % (1,65 %) </a:t>
            </a:r>
            <a:r>
              <a:rPr lang="nb-NO" sz="1800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 Økt margin siste halvår </a:t>
            </a:r>
            <a:endParaRPr lang="nb-NO" sz="1800" dirty="0" smtClean="0">
              <a:solidFill>
                <a:schemeClr val="accent1"/>
              </a:solidFill>
            </a:endParaRPr>
          </a:p>
          <a:p>
            <a:r>
              <a:rPr lang="nb-NO" sz="1800" dirty="0" smtClean="0">
                <a:solidFill>
                  <a:schemeClr val="accent1"/>
                </a:solidFill>
              </a:rPr>
              <a:t>Lave tap; 6 </a:t>
            </a:r>
            <a:r>
              <a:rPr lang="nb-NO" sz="1800" dirty="0" err="1" smtClean="0">
                <a:solidFill>
                  <a:schemeClr val="accent1"/>
                </a:solidFill>
              </a:rPr>
              <a:t>mill</a:t>
            </a:r>
            <a:r>
              <a:rPr lang="nb-NO" sz="1800" dirty="0" smtClean="0">
                <a:solidFill>
                  <a:schemeClr val="accent1"/>
                </a:solidFill>
              </a:rPr>
              <a:t> (10 </a:t>
            </a:r>
            <a:r>
              <a:rPr lang="nb-NO" sz="1800" dirty="0" err="1" smtClean="0">
                <a:solidFill>
                  <a:schemeClr val="accent1"/>
                </a:solidFill>
              </a:rPr>
              <a:t>mill</a:t>
            </a:r>
            <a:r>
              <a:rPr lang="nb-NO" sz="1800" dirty="0" smtClean="0">
                <a:solidFill>
                  <a:schemeClr val="accent1"/>
                </a:solidFill>
              </a:rPr>
              <a:t>)</a:t>
            </a:r>
          </a:p>
          <a:p>
            <a:pPr marL="0" indent="0">
              <a:buNone/>
            </a:pPr>
            <a:endParaRPr lang="nb-NO" sz="1800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nb-NO" sz="2000" b="1" i="1" dirty="0" smtClean="0">
                <a:solidFill>
                  <a:schemeClr val="accent1"/>
                </a:solidFill>
              </a:rPr>
              <a:t>Vekst og balanse</a:t>
            </a:r>
            <a:r>
              <a:rPr lang="nb-NO" sz="2000" b="1" dirty="0" smtClean="0">
                <a:solidFill>
                  <a:schemeClr val="accent1"/>
                </a:solidFill>
              </a:rPr>
              <a:t>: </a:t>
            </a:r>
          </a:p>
          <a:p>
            <a:r>
              <a:rPr lang="nb-NO" sz="2000" b="1" dirty="0">
                <a:solidFill>
                  <a:schemeClr val="accent1"/>
                </a:solidFill>
              </a:rPr>
              <a:t>	</a:t>
            </a:r>
            <a:r>
              <a:rPr lang="nb-NO" sz="1800" dirty="0" smtClean="0">
                <a:solidFill>
                  <a:schemeClr val="accent1"/>
                </a:solidFill>
              </a:rPr>
              <a:t>Forretningskapital 51 </a:t>
            </a:r>
            <a:r>
              <a:rPr lang="nb-NO" sz="1800" dirty="0" err="1" smtClean="0">
                <a:solidFill>
                  <a:schemeClr val="accent1"/>
                </a:solidFill>
              </a:rPr>
              <a:t>mrd</a:t>
            </a:r>
            <a:r>
              <a:rPr lang="nb-NO" sz="1800" dirty="0" smtClean="0">
                <a:solidFill>
                  <a:schemeClr val="accent1"/>
                </a:solidFill>
              </a:rPr>
              <a:t> (48 </a:t>
            </a:r>
            <a:r>
              <a:rPr lang="nb-NO" sz="1800" dirty="0" err="1" smtClean="0">
                <a:solidFill>
                  <a:schemeClr val="accent1"/>
                </a:solidFill>
              </a:rPr>
              <a:t>mrd</a:t>
            </a:r>
            <a:r>
              <a:rPr lang="nb-NO" sz="1800" dirty="0" smtClean="0">
                <a:solidFill>
                  <a:schemeClr val="accent1"/>
                </a:solidFill>
              </a:rPr>
              <a:t>)</a:t>
            </a:r>
          </a:p>
          <a:p>
            <a:r>
              <a:rPr lang="nb-NO" sz="1800" dirty="0" smtClean="0">
                <a:solidFill>
                  <a:schemeClr val="accent1"/>
                </a:solidFill>
              </a:rPr>
              <a:t>Utlånsvekst 12 </a:t>
            </a:r>
            <a:r>
              <a:rPr lang="nb-NO" sz="1800" dirty="0" err="1" smtClean="0">
                <a:solidFill>
                  <a:schemeClr val="accent1"/>
                </a:solidFill>
              </a:rPr>
              <a:t>mnd</a:t>
            </a:r>
            <a:r>
              <a:rPr lang="nb-NO" sz="1800" dirty="0" smtClean="0">
                <a:solidFill>
                  <a:schemeClr val="accent1"/>
                </a:solidFill>
              </a:rPr>
              <a:t> 4,3 % (9,6 %)</a:t>
            </a:r>
          </a:p>
          <a:p>
            <a:pPr lvl="1"/>
            <a:r>
              <a:rPr lang="nb-NO" sz="1400" dirty="0" smtClean="0">
                <a:solidFill>
                  <a:schemeClr val="accent1"/>
                </a:solidFill>
              </a:rPr>
              <a:t>PM 5,0 % og BM 1,1 %</a:t>
            </a:r>
          </a:p>
          <a:p>
            <a:r>
              <a:rPr lang="nb-NO" sz="1800" dirty="0" smtClean="0">
                <a:solidFill>
                  <a:schemeClr val="accent1"/>
                </a:solidFill>
              </a:rPr>
              <a:t>	Innskuddsvekst 12 </a:t>
            </a:r>
            <a:r>
              <a:rPr lang="nb-NO" sz="1800" dirty="0" err="1" smtClean="0">
                <a:solidFill>
                  <a:schemeClr val="accent1"/>
                </a:solidFill>
              </a:rPr>
              <a:t>mnd</a:t>
            </a:r>
            <a:r>
              <a:rPr lang="nb-NO" sz="1800" dirty="0" smtClean="0">
                <a:solidFill>
                  <a:schemeClr val="accent1"/>
                </a:solidFill>
              </a:rPr>
              <a:t> 12,3 % (3,1 %)</a:t>
            </a:r>
          </a:p>
          <a:p>
            <a:pPr lvl="1"/>
            <a:r>
              <a:rPr lang="nb-NO" sz="1400" dirty="0" smtClean="0">
                <a:solidFill>
                  <a:schemeClr val="accent1"/>
                </a:solidFill>
              </a:rPr>
              <a:t>PM 18,6 % og BM 3,2 %</a:t>
            </a:r>
          </a:p>
          <a:p>
            <a:r>
              <a:rPr lang="nb-NO" sz="1800" dirty="0">
                <a:solidFill>
                  <a:schemeClr val="accent1"/>
                </a:solidFill>
              </a:rPr>
              <a:t>Innskuddsdekning </a:t>
            </a:r>
            <a:endParaRPr lang="nb-NO" sz="1800" dirty="0" smtClean="0">
              <a:solidFill>
                <a:schemeClr val="accent1"/>
              </a:solidFill>
            </a:endParaRPr>
          </a:p>
          <a:p>
            <a:pPr lvl="1"/>
            <a:r>
              <a:rPr lang="nb-NO" sz="1400" dirty="0" smtClean="0">
                <a:solidFill>
                  <a:schemeClr val="accent1"/>
                </a:solidFill>
              </a:rPr>
              <a:t>79,4 % og 56,4 % (</a:t>
            </a:r>
            <a:r>
              <a:rPr lang="nb-NO" sz="1400" dirty="0" err="1" smtClean="0">
                <a:solidFill>
                  <a:schemeClr val="accent1"/>
                </a:solidFill>
              </a:rPr>
              <a:t>inkl</a:t>
            </a:r>
            <a:r>
              <a:rPr lang="nb-NO" sz="1400" dirty="0" smtClean="0">
                <a:solidFill>
                  <a:schemeClr val="accent1"/>
                </a:solidFill>
              </a:rPr>
              <a:t> boligkreditt)</a:t>
            </a:r>
            <a:endParaRPr lang="nb-NO" sz="1800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nb-NO" sz="2000" b="1" i="1" dirty="0" smtClean="0">
                <a:solidFill>
                  <a:schemeClr val="accent1"/>
                </a:solidFill>
              </a:rPr>
              <a:t>Soliditet: </a:t>
            </a:r>
          </a:p>
          <a:p>
            <a:r>
              <a:rPr lang="nb-NO" sz="1800" dirty="0" smtClean="0">
                <a:solidFill>
                  <a:schemeClr val="accent1"/>
                </a:solidFill>
              </a:rPr>
              <a:t>Ren kjernekapital  16,9</a:t>
            </a:r>
            <a:r>
              <a:rPr lang="nb-NO" sz="1800" dirty="0" smtClean="0">
                <a:solidFill>
                  <a:srgbClr val="FF0000"/>
                </a:solidFill>
              </a:rPr>
              <a:t> </a:t>
            </a:r>
            <a:r>
              <a:rPr lang="nb-NO" sz="1800" dirty="0" smtClean="0">
                <a:solidFill>
                  <a:schemeClr val="accent1"/>
                </a:solidFill>
              </a:rPr>
              <a:t>% (16,6 %)</a:t>
            </a:r>
            <a:endParaRPr lang="nb-NO" sz="2000" b="1" i="1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nb-NO" sz="2000" b="1" i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nb-NO" sz="2000" b="1" i="1" dirty="0" smtClean="0">
                <a:solidFill>
                  <a:schemeClr val="accent1"/>
                </a:solidFill>
              </a:rPr>
              <a:t>Rentabilitet: </a:t>
            </a:r>
          </a:p>
          <a:p>
            <a:r>
              <a:rPr lang="nb-NO" sz="1800" dirty="0" smtClean="0">
                <a:solidFill>
                  <a:schemeClr val="accent1"/>
                </a:solidFill>
              </a:rPr>
              <a:t>Egenkapitalavkastning 12,1 % (15,8 %)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8</a:t>
            </a:fld>
            <a:endParaRPr lang="nb-NO">
              <a:solidFill>
                <a:srgbClr val="032A74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81" y="4401312"/>
            <a:ext cx="921405" cy="905691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05" y="306066"/>
            <a:ext cx="914356" cy="914356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52" y="5444555"/>
            <a:ext cx="941330" cy="94133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05" y="2044279"/>
            <a:ext cx="913625" cy="91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03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>
                <a:solidFill>
                  <a:srgbClr val="032A74"/>
                </a:solidFill>
              </a:rPr>
              <a:pPr/>
              <a:t>9</a:t>
            </a:fld>
            <a:endParaRPr lang="nb-NO">
              <a:solidFill>
                <a:srgbClr val="032A74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1086130" y="481125"/>
            <a:ext cx="12043275" cy="1329595"/>
          </a:xfrm>
        </p:spPr>
        <p:txBody>
          <a:bodyPr/>
          <a:lstStyle/>
          <a:p>
            <a:r>
              <a:rPr lang="nb-NO" sz="4400" b="1" dirty="0" smtClean="0">
                <a:solidFill>
                  <a:schemeClr val="accent1"/>
                </a:solidFill>
              </a:rPr>
              <a:t>Resultat</a:t>
            </a:r>
            <a:r>
              <a:rPr lang="nb-NO" sz="4267" b="1" dirty="0">
                <a:solidFill>
                  <a:schemeClr val="accent1"/>
                </a:solidFill>
              </a:rPr>
              <a:t/>
            </a:r>
            <a:br>
              <a:rPr lang="nb-NO" sz="4267" b="1" dirty="0">
                <a:solidFill>
                  <a:schemeClr val="accent1"/>
                </a:solidFill>
              </a:rPr>
            </a:br>
            <a:r>
              <a:rPr lang="nb-NO" sz="3200" b="1" dirty="0">
                <a:solidFill>
                  <a:schemeClr val="accent1"/>
                </a:solidFill>
              </a:rPr>
              <a:t/>
            </a:r>
            <a:br>
              <a:rPr lang="nb-NO" sz="3200" b="1" dirty="0">
                <a:solidFill>
                  <a:schemeClr val="accent1"/>
                </a:solidFill>
              </a:rPr>
            </a:br>
            <a:endParaRPr lang="nb-NO" sz="3200" dirty="0">
              <a:solidFill>
                <a:schemeClr val="accent1"/>
              </a:solidFill>
            </a:endParaRPr>
          </a:p>
        </p:txBody>
      </p:sp>
      <p:sp useBgFill="1">
        <p:nvSpPr>
          <p:cNvPr id="9" name="Freeform 89"/>
          <p:cNvSpPr/>
          <p:nvPr>
            <p:custDataLst>
              <p:tags r:id="rId1"/>
            </p:custDataLst>
          </p:nvPr>
        </p:nvSpPr>
        <p:spPr bwMode="auto">
          <a:xfrm>
            <a:off x="6794501" y="4819651"/>
            <a:ext cx="626535" cy="245535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34"/>
            <a:endParaRPr lang="nb-NO" sz="1867">
              <a:solidFill>
                <a:prstClr val="white"/>
              </a:solidFill>
            </a:endParaRPr>
          </a:p>
        </p:txBody>
      </p:sp>
      <p:sp useBgFill="1">
        <p:nvSpPr>
          <p:cNvPr id="10" name="Plassholder for tekst 2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3126318" y="3418417"/>
            <a:ext cx="105833" cy="162984"/>
          </a:xfrm>
          <a:prstGeom prst="rect">
            <a:avLst/>
          </a:prstGeom>
        </p:spPr>
        <p:txBody>
          <a:bodyPr vert="horz" wrap="none" lIns="19051" tIns="0" rIns="19051" bIns="0" numCol="1" spcCol="0" rtlCol="0" anchor="ctr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067" dirty="0">
              <a:solidFill>
                <a:srgbClr val="032A74"/>
              </a:solidFill>
              <a:sym typeface="+mn-lt"/>
            </a:endParaRPr>
          </a:p>
        </p:txBody>
      </p:sp>
      <p:sp>
        <p:nvSpPr>
          <p:cNvPr id="11" name="Plassholder for tekst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989234" y="1792817"/>
            <a:ext cx="241300" cy="162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1" tIns="0" rIns="19051" bIns="0" numCol="1" spcCol="0" rtlCol="0" anchor="b" anchorCtr="0"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032A74"/>
              </a:buClr>
              <a:buNone/>
            </a:pPr>
            <a:endParaRPr lang="nb-NO" sz="1067" dirty="0">
              <a:solidFill>
                <a:srgbClr val="032A74"/>
              </a:solidFill>
              <a:sym typeface="+mn-lt"/>
            </a:endParaRPr>
          </a:p>
        </p:txBody>
      </p:sp>
      <p:graphicFrame>
        <p:nvGraphicFramePr>
          <p:cNvPr id="4" name="Tabel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3072636"/>
              </p:ext>
            </p:extLst>
          </p:nvPr>
        </p:nvGraphicFramePr>
        <p:xfrm>
          <a:off x="1086130" y="1317356"/>
          <a:ext cx="9692499" cy="50700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04649"/>
                <a:gridCol w="1522439"/>
                <a:gridCol w="1421033"/>
                <a:gridCol w="1544378"/>
              </a:tblGrid>
              <a:tr h="333427">
                <a:tc>
                  <a:txBody>
                    <a:bodyPr/>
                    <a:lstStyle/>
                    <a:p>
                      <a:pPr algn="l" fontAlgn="ctr"/>
                      <a:r>
                        <a:rPr lang="nb-NO" sz="16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onsernregnskap </a:t>
                      </a:r>
                      <a:r>
                        <a:rPr lang="nb-NO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nb-NO" sz="1600" b="0" i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ill</a:t>
                      </a:r>
                      <a:r>
                        <a:rPr lang="nb-NO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kr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9.19</a:t>
                      </a:r>
                      <a:endParaRPr lang="nb-N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0.09.18</a:t>
                      </a:r>
                      <a:endParaRPr lang="nb-N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ndring</a:t>
                      </a:r>
                    </a:p>
                  </a:txBody>
                  <a:tcPr marL="0" marR="0" marT="0" marB="0" anchor="ctr"/>
                </a:tc>
              </a:tr>
              <a:tr h="264013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tto </a:t>
                      </a:r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teinntekt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69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437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42992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tto </a:t>
                      </a:r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sjons- og andre inntekt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23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13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10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50229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Netto </a:t>
                      </a:r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resultat fra finansielle eiendel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66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110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-43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286997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Fusjon forsikring (</a:t>
                      </a:r>
                      <a:r>
                        <a:rPr lang="nb-NO" sz="1300" b="0" i="0" u="none" strike="noStrike" dirty="0" err="1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Fremtind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72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 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 72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406977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err="1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Oppskr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. eiendommer SB1 Forsikring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18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6979" rtl="0" eaLnBrk="1" fontAlgn="ctr" latinLnBrk="0" hangingPunct="1"/>
                      <a:endParaRPr lang="nb-NO" sz="1300" b="0" i="0" u="none" strike="noStrike" kern="1200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18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254870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Gevinst ved salg av bankbygg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   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6979" rtl="0" eaLnBrk="1" fontAlgn="ctr" latinLnBrk="0" hangingPunct="1"/>
                      <a:r>
                        <a:rPr lang="nb-NO" sz="1300" b="0" i="0" u="none" strike="noStrike" kern="1200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    </a:t>
                      </a:r>
                    </a:p>
                    <a:p>
                      <a:pPr marL="0" algn="ctr" defTabSz="456979" rtl="0" eaLnBrk="1" fontAlgn="ctr" latinLnBrk="0" hangingPunct="1"/>
                      <a:r>
                        <a:rPr lang="nb-NO" sz="1300" b="0" i="0" u="none" strike="noStrike" kern="1200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     91</a:t>
                      </a:r>
                    </a:p>
                    <a:p>
                      <a:pPr marL="0" algn="ctr" defTabSz="456979" rtl="0" eaLnBrk="1" fontAlgn="ctr" latinLnBrk="0" hangingPunct="1"/>
                      <a:endParaRPr lang="nb-NO" sz="1300" b="0" i="0" u="none" strike="noStrike" kern="1200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-91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295941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Sum </a:t>
                      </a:r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tto inntekter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948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950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-2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301658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Reversering pensjonsforpliktelse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-92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</a:t>
                      </a:r>
                      <a:r>
                        <a:rPr lang="nb-NO" sz="1300" b="0" i="0" u="none" strike="noStrike" baseline="0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64013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Driftskostnader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421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smtClean="0">
                          <a:solidFill>
                            <a:srgbClr val="181E26"/>
                          </a:solidFill>
                          <a:effectLst/>
                          <a:latin typeface="Calibri" panose="020F0502020204030204" pitchFamily="34" charset="0"/>
                        </a:rPr>
                        <a:t>      12  </a:t>
                      </a:r>
                      <a:endParaRPr lang="nb-NO" sz="1300" b="0" i="0" u="none" strike="noStrike" dirty="0">
                        <a:solidFill>
                          <a:srgbClr val="181E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327084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esultat </a:t>
                      </a:r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ør tap og skatt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3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106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402956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ap </a:t>
                      </a:r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å utlån og garantier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-4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317715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esultat </a:t>
                      </a:r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ør skatt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521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23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-102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317716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kattekostnad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</a:t>
                      </a:r>
                      <a:r>
                        <a:rPr lang="nb-NO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94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112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-17</a:t>
                      </a:r>
                      <a:r>
                        <a:rPr lang="nb-NO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nb-NO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nb-NO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264013">
                <a:tc>
                  <a:txBody>
                    <a:bodyPr/>
                    <a:lstStyle/>
                    <a:p>
                      <a:pPr algn="l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esultat etter skatt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26 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512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nb-NO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85</a:t>
                      </a:r>
                      <a:endParaRPr lang="nb-NO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1415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ALmEzR3K0hx4fcDWi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qPSbKTv6F0tUbsSEj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6QbrvCSTaaU1nss9sr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XuAiyYSemGleNFhClQ6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AAlwmCR1GmwJd07GzT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_tpWwARXeb1coqEWtn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AawRPGQnKSGwf2e8BY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1KXxZlRJyzv4VgExwY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AawRPGQnKSGwf2e8BY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1KXxZlRJyzv4VgExwY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AawRPGQnKSGwf2e8BY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1KXxZlRJyzv4VgExwY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ALmEzR3K0hx4fcDWi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qPSbKTv6F0tUbsSEj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6QbrvCSTaaU1nss9sr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AawRPGQnKSGwf2e8BY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1KXxZlRJyzv4VgExwY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ema">
  <a:themeElements>
    <a:clrScheme name="SpareBank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35EA0"/>
      </a:accent1>
      <a:accent2>
        <a:srgbClr val="1F82BA"/>
      </a:accent2>
      <a:accent3>
        <a:srgbClr val="85C7E5"/>
      </a:accent3>
      <a:accent4>
        <a:srgbClr val="032A74"/>
      </a:accent4>
      <a:accent5>
        <a:srgbClr val="666666"/>
      </a:accent5>
      <a:accent6>
        <a:srgbClr val="999999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pareBank1_PPT_16.9_v4.potx" id="{D28ECF27-CD63-4048-91D8-7F5BA32C1B62}" vid="{22C99DBD-F9A7-4A81-A6F6-1F54E981E410}"/>
    </a:ext>
  </a:extLst>
</a:theme>
</file>

<file path=ppt/theme/theme2.xml><?xml version="1.0" encoding="utf-8"?>
<a:theme xmlns:a="http://schemas.openxmlformats.org/drawingml/2006/main" name="2_S1BV_Kickoff_27.01.15">
  <a:themeElements>
    <a:clrScheme name="S1bv">
      <a:dk1>
        <a:sysClr val="windowText" lastClr="000000"/>
      </a:dk1>
      <a:lt1>
        <a:srgbClr val="7FC6E8"/>
      </a:lt1>
      <a:dk2>
        <a:srgbClr val="44546A"/>
      </a:dk2>
      <a:lt2>
        <a:srgbClr val="E7E6E6"/>
      </a:lt2>
      <a:accent1>
        <a:srgbClr val="005AA4"/>
      </a:accent1>
      <a:accent2>
        <a:srgbClr val="7FC6E8"/>
      </a:accent2>
      <a:accent3>
        <a:srgbClr val="002776"/>
      </a:accent3>
      <a:accent4>
        <a:srgbClr val="CBCBCB"/>
      </a:accent4>
      <a:accent5>
        <a:srgbClr val="676767"/>
      </a:accent5>
      <a:accent6>
        <a:srgbClr val="D2BF9A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 Point-mal S1BV" id="{5C4F2C8E-81EF-499C-A9C0-A87D6F8F82F5}" vid="{66E14936-1D49-4943-A539-94BDFA21136C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57</TotalTime>
  <Words>1978</Words>
  <Application>Microsoft Office PowerPoint</Application>
  <PresentationFormat>Widescreen</PresentationFormat>
  <Paragraphs>824</Paragraphs>
  <Slides>48</Slides>
  <Notes>4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8</vt:i4>
      </vt:variant>
    </vt:vector>
  </HeadingPairs>
  <TitlesOfParts>
    <vt:vector size="56" baseType="lpstr">
      <vt:lpstr>Arial</vt:lpstr>
      <vt:lpstr>Calibri</vt:lpstr>
      <vt:lpstr>Times New Roman</vt:lpstr>
      <vt:lpstr>Verdana</vt:lpstr>
      <vt:lpstr>Wingdings</vt:lpstr>
      <vt:lpstr>1_Office-tema</vt:lpstr>
      <vt:lpstr>2_S1BV_Kickoff_27.01.15</vt:lpstr>
      <vt:lpstr>think-cell Slide</vt:lpstr>
      <vt:lpstr>Regnskapspresentasjon  3. kvartal 2019 </vt:lpstr>
      <vt:lpstr>PowerPoint-presentasjon</vt:lpstr>
      <vt:lpstr>Moderat  boligprisutvikling i våre  markeder siste 2 år</vt:lpstr>
      <vt:lpstr>Stabil og lav arbeidsledighet</vt:lpstr>
      <vt:lpstr>Positiv netto innflytting Vestfold og Buskerud</vt:lpstr>
      <vt:lpstr>PowerPoint-presentasjon</vt:lpstr>
      <vt:lpstr>Godt resultat fra  kjernevirksomheten 3. kvartal 2019</vt:lpstr>
      <vt:lpstr>Godt resultat og god soliditet pr 30.09.19</vt:lpstr>
      <vt:lpstr>Resultat  </vt:lpstr>
      <vt:lpstr>Resultat pr EK-bevis (morbank) Hiå:  kr 3,46 pr egenkapitalbevis</vt:lpstr>
      <vt:lpstr>Positiv marginutvikling</vt:lpstr>
      <vt:lpstr>Økende marginer etter renteheving i mai og august    Ny renteheving fra medio november </vt:lpstr>
      <vt:lpstr>BM: Økt innskuddsmargin PM: Økt innskuddsmargin siste halvår</vt:lpstr>
      <vt:lpstr>PM: Marginal økning i utlånsmargin siste kv. BM: Redusert utlånsmargin siste kvartal</vt:lpstr>
      <vt:lpstr>Positiv utvikling i andre inntekter</vt:lpstr>
      <vt:lpstr>Resultatandel felleskontrollert virksomhet og tilknyttede selskaper</vt:lpstr>
      <vt:lpstr>Lave tap over tid </vt:lpstr>
      <vt:lpstr>EK-avkastning 12,1 % mot mål 10 %  </vt:lpstr>
      <vt:lpstr>PowerPoint-presentasjon</vt:lpstr>
      <vt:lpstr>Balanseutvikling</vt:lpstr>
      <vt:lpstr>Balanse </vt:lpstr>
      <vt:lpstr>Utlån</vt:lpstr>
      <vt:lpstr> Sterk innskuddsvekst i 1. halvår  Solid innskuddsdekning  </vt:lpstr>
      <vt:lpstr>Kredittområdet</vt:lpstr>
      <vt:lpstr>PowerPoint-presentasjon</vt:lpstr>
      <vt:lpstr>PowerPoint-presentasjon</vt:lpstr>
      <vt:lpstr>Kredittrisiko</vt:lpstr>
      <vt:lpstr>Utlån i trinn 1, 2 og 3</vt:lpstr>
      <vt:lpstr>Porteføljeutvikling </vt:lpstr>
      <vt:lpstr>Risikoprofil – utlån i PM   </vt:lpstr>
      <vt:lpstr>Risikoprofil – utlån i BM   </vt:lpstr>
      <vt:lpstr>LTV – Belåningsgrad boliglån </vt:lpstr>
      <vt:lpstr>Egenkapitalbevis</vt:lpstr>
      <vt:lpstr>Fundingstruktur 30.09.19 </vt:lpstr>
      <vt:lpstr>Obligasjonsportefølje 30.09.19 </vt:lpstr>
      <vt:lpstr> </vt:lpstr>
      <vt:lpstr>Datterselskaper</vt:lpstr>
      <vt:lpstr>Datterselskaper</vt:lpstr>
      <vt:lpstr>Kursutvikling SBVG</vt:lpstr>
      <vt:lpstr>Stabil kursutvikling og høy direkteavkastning SBVG</vt:lpstr>
      <vt:lpstr>Utsikter</vt:lpstr>
      <vt:lpstr>Vedlegg</vt:lpstr>
      <vt:lpstr>Kvartalsregnskap  </vt:lpstr>
      <vt:lpstr>Driftskostnader</vt:lpstr>
      <vt:lpstr>Tapsavsetninger – utvikling*  </vt:lpstr>
      <vt:lpstr>Utlån Kredittvekst husholdninger  12 mnd vekst</vt:lpstr>
      <vt:lpstr>Fundingforfall</vt:lpstr>
      <vt:lpstr>Nøkkeltall</vt:lpstr>
    </vt:vector>
  </TitlesOfParts>
  <Company>SpareBank1 Allians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jon, verdigrunnlag, verdier og kultur – innhold og prosess</dc:title>
  <dc:creator>Vibeke B Andersen</dc:creator>
  <cp:lastModifiedBy>Per Grøtterød</cp:lastModifiedBy>
  <cp:revision>413</cp:revision>
  <cp:lastPrinted>2017-11-23T13:28:07Z</cp:lastPrinted>
  <dcterms:created xsi:type="dcterms:W3CDTF">2017-05-22T10:45:49Z</dcterms:created>
  <dcterms:modified xsi:type="dcterms:W3CDTF">2020-01-14T09:01:25Z</dcterms:modified>
</cp:coreProperties>
</file>